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Lst>
  <p:notesMasterIdLst>
    <p:notesMasterId r:id="rId18"/>
  </p:notesMasterIdLst>
  <p:sldIdLst>
    <p:sldId id="407" r:id="rId3"/>
    <p:sldId id="771" r:id="rId4"/>
    <p:sldId id="772" r:id="rId5"/>
    <p:sldId id="773" r:id="rId6"/>
    <p:sldId id="774" r:id="rId7"/>
    <p:sldId id="775" r:id="rId8"/>
    <p:sldId id="776" r:id="rId9"/>
    <p:sldId id="777" r:id="rId10"/>
    <p:sldId id="778" r:id="rId11"/>
    <p:sldId id="779" r:id="rId12"/>
    <p:sldId id="780" r:id="rId13"/>
    <p:sldId id="781" r:id="rId14"/>
    <p:sldId id="782" r:id="rId15"/>
    <p:sldId id="783" r:id="rId16"/>
    <p:sldId id="784"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6" autoAdjust="0"/>
    <p:restoredTop sz="94660"/>
  </p:normalViewPr>
  <p:slideViewPr>
    <p:cSldViewPr snapToGrid="0">
      <p:cViewPr varScale="1">
        <p:scale>
          <a:sx n="86" d="100"/>
          <a:sy n="86" d="100"/>
        </p:scale>
        <p:origin x="48" y="9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6_4">
  <dgm:title val=""/>
  <dgm:desc val=""/>
  <dgm:catLst>
    <dgm:cat type="accent6" pri="11400"/>
  </dgm:catLst>
  <dgm:styleLbl name="node0">
    <dgm:fillClrLst meth="cycle">
      <a:schemeClr val="accent6">
        <a:shade val="60000"/>
      </a:schemeClr>
    </dgm:fillClrLst>
    <dgm:linClrLst meth="repeat">
      <a:schemeClr val="lt1"/>
    </dgm:linClrLst>
    <dgm:effectClrLst/>
    <dgm:txLinClrLst/>
    <dgm:txFillClrLst/>
    <dgm:txEffectClrLst/>
  </dgm:styleLbl>
  <dgm:styleLbl name="alignNode1">
    <dgm:fillClrLst meth="cycle">
      <a:schemeClr val="accent6">
        <a:shade val="50000"/>
      </a:schemeClr>
      <a:schemeClr val="accent6">
        <a:tint val="55000"/>
      </a:schemeClr>
    </dgm:fillClrLst>
    <dgm:linClrLst meth="cycle">
      <a:schemeClr val="accent6">
        <a:shade val="50000"/>
      </a:schemeClr>
      <a:schemeClr val="accent6">
        <a:tint val="55000"/>
      </a:schemeClr>
    </dgm:linClrLst>
    <dgm:effectClrLst/>
    <dgm:txLinClrLst/>
    <dgm:txFillClrLst/>
    <dgm:txEffectClrLst/>
  </dgm:styleLbl>
  <dgm:styleLbl name="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ln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vennNode1">
    <dgm:fillClrLst meth="cycle">
      <a:schemeClr val="accent6">
        <a:shade val="80000"/>
        <a:alpha val="50000"/>
      </a:schemeClr>
      <a:schemeClr val="accent6">
        <a:tint val="50000"/>
        <a:alpha val="50000"/>
      </a:schemeClr>
    </dgm:fillClrLst>
    <dgm:linClrLst meth="repeat">
      <a:schemeClr val="lt1"/>
    </dgm:linClrLst>
    <dgm:effectClrLst/>
    <dgm:txLinClrLst/>
    <dgm:txFillClrLst/>
    <dgm:txEffectClrLst/>
  </dgm:styleLbl>
  <dgm:styleLbl name="node2">
    <dgm:fillClrLst>
      <a:schemeClr val="accent6">
        <a:shade val="80000"/>
      </a:schemeClr>
    </dgm:fillClrLst>
    <dgm:linClrLst meth="repeat">
      <a:schemeClr val="lt1"/>
    </dgm:linClrLst>
    <dgm:effectClrLst/>
    <dgm:txLinClrLst/>
    <dgm:txFillClrLst/>
    <dgm:txEffectClrLst/>
  </dgm:styleLbl>
  <dgm:styleLbl name="node3">
    <dgm:fillClrLst>
      <a:schemeClr val="accent6">
        <a:tint val="99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f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b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sibTrans1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0000"/>
      </a:schemeClr>
    </dgm:fillClrLst>
    <dgm:linClrLst meth="repeat">
      <a:schemeClr val="lt1"/>
    </dgm:linClrLst>
    <dgm:effectClrLst/>
    <dgm:txLinClrLst/>
    <dgm:txFillClrLst/>
    <dgm:txEffectClrLst/>
  </dgm:styleLbl>
  <dgm:styleLbl name="asst3">
    <dgm:fillClrLst>
      <a:schemeClr val="accent6">
        <a:tint val="70000"/>
      </a:schemeClr>
    </dgm:fillClrLst>
    <dgm:linClrLst meth="repeat">
      <a:schemeClr val="lt1"/>
    </dgm:linClrLst>
    <dgm:effectClrLst/>
    <dgm:txLinClrLst/>
    <dgm:txFillClrLst/>
    <dgm:txEffectClrLst/>
  </dgm:styleLbl>
  <dgm:styleLbl name="asst4">
    <dgm:fillClrLst>
      <a:schemeClr val="accent6">
        <a:tint val="5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align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bgAccFollowNode1">
    <dgm:fillClrLst meth="repeat">
      <a:schemeClr val="accent6">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55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FCA6215-0BB9-4D32-B754-067460371B4B}" type="doc">
      <dgm:prSet loTypeId="urn:microsoft.com/office/officeart/2005/8/layout/cycle3" loCatId="cycle" qsTypeId="urn:microsoft.com/office/officeart/2005/8/quickstyle/simple1" qsCatId="simple" csTypeId="urn:microsoft.com/office/officeart/2005/8/colors/accent6_4" csCatId="accent6" phldr="1"/>
      <dgm:spPr/>
      <dgm:t>
        <a:bodyPr/>
        <a:lstStyle/>
        <a:p>
          <a:endParaRPr lang="en-US"/>
        </a:p>
      </dgm:t>
    </dgm:pt>
    <dgm:pt modelId="{B8E6F1E9-1347-4F21-9EC8-FB95DA86BE70}">
      <dgm:prSet phldrT="[Text]"/>
      <dgm:spPr>
        <a:solidFill>
          <a:schemeClr val="accent5">
            <a:lumMod val="60000"/>
            <a:lumOff val="40000"/>
          </a:schemeClr>
        </a:solidFill>
      </dgm:spPr>
      <dgm:t>
        <a:bodyPr/>
        <a:lstStyle/>
        <a:p>
          <a:pPr>
            <a:spcAft>
              <a:spcPts val="0"/>
            </a:spcAft>
          </a:pPr>
          <a:r>
            <a:rPr lang="en-US" b="1" dirty="0">
              <a:solidFill>
                <a:schemeClr val="tx1"/>
              </a:solidFill>
              <a:latin typeface="Arial" charset="0"/>
            </a:rPr>
            <a:t> </a:t>
          </a:r>
          <a:r>
            <a:rPr lang="en-US" b="1" dirty="0">
              <a:solidFill>
                <a:srgbClr val="000000"/>
              </a:solidFill>
              <a:latin typeface="Arial" charset="0"/>
            </a:rPr>
            <a:t>Plants Conduct</a:t>
          </a:r>
        </a:p>
        <a:p>
          <a:pPr>
            <a:spcAft>
              <a:spcPts val="0"/>
            </a:spcAft>
          </a:pPr>
          <a:r>
            <a:rPr lang="en-US" b="1" dirty="0">
              <a:solidFill>
                <a:srgbClr val="000000"/>
              </a:solidFill>
              <a:latin typeface="Arial" charset="0"/>
            </a:rPr>
            <a:t>Baseline</a:t>
          </a:r>
          <a:br>
            <a:rPr lang="en-US" b="1" dirty="0">
              <a:solidFill>
                <a:srgbClr val="000000"/>
              </a:solidFill>
              <a:latin typeface="Arial" charset="0"/>
            </a:rPr>
          </a:br>
          <a:r>
            <a:rPr lang="en-US" b="1" dirty="0">
              <a:solidFill>
                <a:srgbClr val="000000"/>
              </a:solidFill>
              <a:latin typeface="Arial" charset="0"/>
            </a:rPr>
            <a:t>Self-Assessments</a:t>
          </a:r>
          <a:endParaRPr lang="en-US" dirty="0">
            <a:solidFill>
              <a:srgbClr val="000000"/>
            </a:solidFill>
          </a:endParaRPr>
        </a:p>
      </dgm:t>
    </dgm:pt>
    <dgm:pt modelId="{5C714489-28F0-42A4-B1F2-3C7E16FFE246}" type="parTrans" cxnId="{F84A901F-E00B-44FF-A1F7-74EEAFB4CC14}">
      <dgm:prSet/>
      <dgm:spPr/>
      <dgm:t>
        <a:bodyPr/>
        <a:lstStyle/>
        <a:p>
          <a:endParaRPr lang="en-US"/>
        </a:p>
      </dgm:t>
    </dgm:pt>
    <dgm:pt modelId="{B5CE7377-D2CD-4718-ABDB-450D66196F2E}" type="sibTrans" cxnId="{F84A901F-E00B-44FF-A1F7-74EEAFB4CC14}">
      <dgm:prSet/>
      <dgm:spPr>
        <a:solidFill>
          <a:srgbClr val="336699"/>
        </a:solidFill>
      </dgm:spPr>
      <dgm:t>
        <a:bodyPr/>
        <a:lstStyle/>
        <a:p>
          <a:endParaRPr lang="en-US" dirty="0"/>
        </a:p>
      </dgm:t>
    </dgm:pt>
    <dgm:pt modelId="{722ED007-7C83-4F1C-B2E2-DB1DA05EF443}">
      <dgm:prSet phldrT="[Text]"/>
      <dgm:spPr>
        <a:solidFill>
          <a:schemeClr val="accent2">
            <a:lumMod val="20000"/>
            <a:lumOff val="80000"/>
          </a:schemeClr>
        </a:solidFill>
      </dgm:spPr>
      <dgm:t>
        <a:bodyPr/>
        <a:lstStyle/>
        <a:p>
          <a:r>
            <a:rPr lang="en-US" b="1" dirty="0">
              <a:solidFill>
                <a:srgbClr val="000000"/>
              </a:solidFill>
              <a:latin typeface="Arial" charset="0"/>
            </a:rPr>
            <a:t>“Improvement Visits” to Calibrate &amp; Validate </a:t>
          </a:r>
          <a:br>
            <a:rPr lang="en-US" b="1" dirty="0">
              <a:solidFill>
                <a:srgbClr val="000000"/>
              </a:solidFill>
              <a:latin typeface="Arial" charset="0"/>
            </a:rPr>
          </a:br>
          <a:r>
            <a:rPr lang="en-US" b="1" dirty="0">
              <a:solidFill>
                <a:srgbClr val="000000"/>
              </a:solidFill>
              <a:latin typeface="Arial" charset="0"/>
            </a:rPr>
            <a:t>Self-Assessments</a:t>
          </a:r>
          <a:endParaRPr lang="en-US" dirty="0">
            <a:solidFill>
              <a:srgbClr val="000000"/>
            </a:solidFill>
          </a:endParaRPr>
        </a:p>
      </dgm:t>
    </dgm:pt>
    <dgm:pt modelId="{735F1DE2-0880-4DC8-8C63-8F6090B6E3AF}" type="parTrans" cxnId="{A58B12A0-1CF4-4586-905F-4578804E55E9}">
      <dgm:prSet/>
      <dgm:spPr/>
      <dgm:t>
        <a:bodyPr/>
        <a:lstStyle/>
        <a:p>
          <a:endParaRPr lang="en-US"/>
        </a:p>
      </dgm:t>
    </dgm:pt>
    <dgm:pt modelId="{11F7423B-E58A-4384-AAC5-837690A5FAAF}" type="sibTrans" cxnId="{A58B12A0-1CF4-4586-905F-4578804E55E9}">
      <dgm:prSet/>
      <dgm:spPr/>
      <dgm:t>
        <a:bodyPr/>
        <a:lstStyle/>
        <a:p>
          <a:endParaRPr lang="en-US"/>
        </a:p>
      </dgm:t>
    </dgm:pt>
    <dgm:pt modelId="{616D42E7-5666-4757-959B-AA3129D087FE}">
      <dgm:prSet phldrT="[Text]"/>
      <dgm:spPr>
        <a:solidFill>
          <a:srgbClr val="336699"/>
        </a:solidFill>
      </dgm:spPr>
      <dgm:t>
        <a:bodyPr/>
        <a:lstStyle/>
        <a:p>
          <a:r>
            <a:rPr lang="en-US" b="1" dirty="0">
              <a:solidFill>
                <a:srgbClr val="FFFFFF"/>
              </a:solidFill>
              <a:latin typeface="Arial" charset="0"/>
            </a:rPr>
            <a:t>Plants Receive </a:t>
          </a:r>
          <a:br>
            <a:rPr lang="en-US" b="1" dirty="0">
              <a:solidFill>
                <a:srgbClr val="FFFFFF"/>
              </a:solidFill>
              <a:latin typeface="Arial" charset="0"/>
            </a:rPr>
          </a:br>
          <a:r>
            <a:rPr lang="en-US" b="1" dirty="0">
              <a:solidFill>
                <a:srgbClr val="FFFFFF"/>
              </a:solidFill>
              <a:latin typeface="Arial" charset="0"/>
            </a:rPr>
            <a:t>Formal Feedback</a:t>
          </a:r>
          <a:endParaRPr lang="en-US" dirty="0">
            <a:solidFill>
              <a:srgbClr val="FFFFFF"/>
            </a:solidFill>
          </a:endParaRPr>
        </a:p>
      </dgm:t>
    </dgm:pt>
    <dgm:pt modelId="{76FD73FD-62D8-42FF-B75F-9BE0321276B5}" type="parTrans" cxnId="{366F7953-FBCF-440E-AE09-9DFC03ACB007}">
      <dgm:prSet/>
      <dgm:spPr/>
      <dgm:t>
        <a:bodyPr/>
        <a:lstStyle/>
        <a:p>
          <a:endParaRPr lang="en-US"/>
        </a:p>
      </dgm:t>
    </dgm:pt>
    <dgm:pt modelId="{5CC76534-233A-4ED0-BAD0-982B44409336}" type="sibTrans" cxnId="{366F7953-FBCF-440E-AE09-9DFC03ACB007}">
      <dgm:prSet/>
      <dgm:spPr/>
      <dgm:t>
        <a:bodyPr/>
        <a:lstStyle/>
        <a:p>
          <a:endParaRPr lang="en-US"/>
        </a:p>
      </dgm:t>
    </dgm:pt>
    <dgm:pt modelId="{FA4861CC-2135-48C7-9A2A-2BE26279D682}">
      <dgm:prSet phldrT="[Text]"/>
      <dgm:spPr>
        <a:solidFill>
          <a:srgbClr val="002060"/>
        </a:solidFill>
      </dgm:spPr>
      <dgm:t>
        <a:bodyPr/>
        <a:lstStyle/>
        <a:p>
          <a:r>
            <a:rPr lang="en-US" b="1" dirty="0">
              <a:solidFill>
                <a:srgbClr val="FFFFFF"/>
              </a:solidFill>
              <a:latin typeface="Arial" charset="0"/>
            </a:rPr>
            <a:t>Plants Execute Improvement Plans,</a:t>
          </a:r>
          <a:br>
            <a:rPr lang="en-US" b="1" dirty="0">
              <a:solidFill>
                <a:srgbClr val="FFFFFF"/>
              </a:solidFill>
              <a:latin typeface="Arial" charset="0"/>
            </a:rPr>
          </a:br>
          <a:r>
            <a:rPr lang="en-US" b="1" dirty="0">
              <a:solidFill>
                <a:srgbClr val="FFFFFF"/>
              </a:solidFill>
              <a:latin typeface="Arial" charset="0"/>
            </a:rPr>
            <a:t>Benchmark Best Practices &amp; Improve Management System </a:t>
          </a:r>
          <a:endParaRPr lang="en-US" dirty="0">
            <a:solidFill>
              <a:srgbClr val="FFFFFF"/>
            </a:solidFill>
          </a:endParaRPr>
        </a:p>
      </dgm:t>
    </dgm:pt>
    <dgm:pt modelId="{F6DEC9BF-93C0-4510-A142-29E4F1EC7009}" type="parTrans" cxnId="{A3DDDC3B-BA0C-47A1-88E9-F25AF5DB034E}">
      <dgm:prSet/>
      <dgm:spPr/>
      <dgm:t>
        <a:bodyPr/>
        <a:lstStyle/>
        <a:p>
          <a:endParaRPr lang="en-US"/>
        </a:p>
      </dgm:t>
    </dgm:pt>
    <dgm:pt modelId="{FFF13F17-0AD5-47E0-8C56-B36CA78985E3}" type="sibTrans" cxnId="{A3DDDC3B-BA0C-47A1-88E9-F25AF5DB034E}">
      <dgm:prSet/>
      <dgm:spPr/>
      <dgm:t>
        <a:bodyPr/>
        <a:lstStyle/>
        <a:p>
          <a:endParaRPr lang="en-US"/>
        </a:p>
      </dgm:t>
    </dgm:pt>
    <dgm:pt modelId="{D8FE266C-143C-4AC8-AEDF-A701C64E9F4B}" type="pres">
      <dgm:prSet presAssocID="{0FCA6215-0BB9-4D32-B754-067460371B4B}" presName="Name0" presStyleCnt="0">
        <dgm:presLayoutVars>
          <dgm:dir/>
          <dgm:resizeHandles val="exact"/>
        </dgm:presLayoutVars>
      </dgm:prSet>
      <dgm:spPr/>
    </dgm:pt>
    <dgm:pt modelId="{6B910C45-2C99-49D6-A451-0F691DF77DB8}" type="pres">
      <dgm:prSet presAssocID="{0FCA6215-0BB9-4D32-B754-067460371B4B}" presName="cycle" presStyleCnt="0"/>
      <dgm:spPr/>
    </dgm:pt>
    <dgm:pt modelId="{06D131BE-2D32-4D11-A099-4D02C54A65D3}" type="pres">
      <dgm:prSet presAssocID="{B8E6F1E9-1347-4F21-9EC8-FB95DA86BE70}" presName="nodeFirstNode" presStyleLbl="node1" presStyleIdx="0" presStyleCnt="4">
        <dgm:presLayoutVars>
          <dgm:bulletEnabled val="1"/>
        </dgm:presLayoutVars>
      </dgm:prSet>
      <dgm:spPr/>
    </dgm:pt>
    <dgm:pt modelId="{D7109E7D-1A30-49E2-87AE-EFE5FC32B606}" type="pres">
      <dgm:prSet presAssocID="{B5CE7377-D2CD-4718-ABDB-450D66196F2E}" presName="sibTransFirstNode" presStyleLbl="bgShp" presStyleIdx="0" presStyleCnt="1"/>
      <dgm:spPr/>
    </dgm:pt>
    <dgm:pt modelId="{C239D7A5-1F24-43A6-BD08-71B445CB4A29}" type="pres">
      <dgm:prSet presAssocID="{722ED007-7C83-4F1C-B2E2-DB1DA05EF443}" presName="nodeFollowingNodes" presStyleLbl="node1" presStyleIdx="1" presStyleCnt="4">
        <dgm:presLayoutVars>
          <dgm:bulletEnabled val="1"/>
        </dgm:presLayoutVars>
      </dgm:prSet>
      <dgm:spPr/>
    </dgm:pt>
    <dgm:pt modelId="{89433EFB-7499-4EBB-A41E-108A7D20351E}" type="pres">
      <dgm:prSet presAssocID="{616D42E7-5666-4757-959B-AA3129D087FE}" presName="nodeFollowingNodes" presStyleLbl="node1" presStyleIdx="2" presStyleCnt="4" custRadScaleRad="95974" custRadScaleInc="5077">
        <dgm:presLayoutVars>
          <dgm:bulletEnabled val="1"/>
        </dgm:presLayoutVars>
      </dgm:prSet>
      <dgm:spPr/>
    </dgm:pt>
    <dgm:pt modelId="{452C1206-2E03-468C-B2E2-F570655C2B37}" type="pres">
      <dgm:prSet presAssocID="{FA4861CC-2135-48C7-9A2A-2BE26279D682}" presName="nodeFollowingNodes" presStyleLbl="node1" presStyleIdx="3" presStyleCnt="4">
        <dgm:presLayoutVars>
          <dgm:bulletEnabled val="1"/>
        </dgm:presLayoutVars>
      </dgm:prSet>
      <dgm:spPr/>
    </dgm:pt>
  </dgm:ptLst>
  <dgm:cxnLst>
    <dgm:cxn modelId="{72706900-EB5B-40C7-B891-E72D8662DC60}" type="presOf" srcId="{FA4861CC-2135-48C7-9A2A-2BE26279D682}" destId="{452C1206-2E03-468C-B2E2-F570655C2B37}" srcOrd="0" destOrd="0" presId="urn:microsoft.com/office/officeart/2005/8/layout/cycle3"/>
    <dgm:cxn modelId="{862CA30D-CC3D-477C-8ECF-59CDED21583A}" type="presOf" srcId="{B8E6F1E9-1347-4F21-9EC8-FB95DA86BE70}" destId="{06D131BE-2D32-4D11-A099-4D02C54A65D3}" srcOrd="0" destOrd="0" presId="urn:microsoft.com/office/officeart/2005/8/layout/cycle3"/>
    <dgm:cxn modelId="{F84A901F-E00B-44FF-A1F7-74EEAFB4CC14}" srcId="{0FCA6215-0BB9-4D32-B754-067460371B4B}" destId="{B8E6F1E9-1347-4F21-9EC8-FB95DA86BE70}" srcOrd="0" destOrd="0" parTransId="{5C714489-28F0-42A4-B1F2-3C7E16FFE246}" sibTransId="{B5CE7377-D2CD-4718-ABDB-450D66196F2E}"/>
    <dgm:cxn modelId="{12CADE25-37A3-4100-B905-70F39004712A}" type="presOf" srcId="{616D42E7-5666-4757-959B-AA3129D087FE}" destId="{89433EFB-7499-4EBB-A41E-108A7D20351E}" srcOrd="0" destOrd="0" presId="urn:microsoft.com/office/officeart/2005/8/layout/cycle3"/>
    <dgm:cxn modelId="{A3DDDC3B-BA0C-47A1-88E9-F25AF5DB034E}" srcId="{0FCA6215-0BB9-4D32-B754-067460371B4B}" destId="{FA4861CC-2135-48C7-9A2A-2BE26279D682}" srcOrd="3" destOrd="0" parTransId="{F6DEC9BF-93C0-4510-A142-29E4F1EC7009}" sibTransId="{FFF13F17-0AD5-47E0-8C56-B36CA78985E3}"/>
    <dgm:cxn modelId="{66AB2B6D-6479-449C-A95C-04402A7C343A}" type="presOf" srcId="{B5CE7377-D2CD-4718-ABDB-450D66196F2E}" destId="{D7109E7D-1A30-49E2-87AE-EFE5FC32B606}" srcOrd="0" destOrd="0" presId="urn:microsoft.com/office/officeart/2005/8/layout/cycle3"/>
    <dgm:cxn modelId="{366F7953-FBCF-440E-AE09-9DFC03ACB007}" srcId="{0FCA6215-0BB9-4D32-B754-067460371B4B}" destId="{616D42E7-5666-4757-959B-AA3129D087FE}" srcOrd="2" destOrd="0" parTransId="{76FD73FD-62D8-42FF-B75F-9BE0321276B5}" sibTransId="{5CC76534-233A-4ED0-BAD0-982B44409336}"/>
    <dgm:cxn modelId="{8C359578-F281-4D1F-BED8-FF25FA6E9DDD}" type="presOf" srcId="{722ED007-7C83-4F1C-B2E2-DB1DA05EF443}" destId="{C239D7A5-1F24-43A6-BD08-71B445CB4A29}" srcOrd="0" destOrd="0" presId="urn:microsoft.com/office/officeart/2005/8/layout/cycle3"/>
    <dgm:cxn modelId="{A58B12A0-1CF4-4586-905F-4578804E55E9}" srcId="{0FCA6215-0BB9-4D32-B754-067460371B4B}" destId="{722ED007-7C83-4F1C-B2E2-DB1DA05EF443}" srcOrd="1" destOrd="0" parTransId="{735F1DE2-0880-4DC8-8C63-8F6090B6E3AF}" sibTransId="{11F7423B-E58A-4384-AAC5-837690A5FAAF}"/>
    <dgm:cxn modelId="{12FF5CB6-75C0-4861-BFEA-9D19BA886E4E}" type="presOf" srcId="{0FCA6215-0BB9-4D32-B754-067460371B4B}" destId="{D8FE266C-143C-4AC8-AEDF-A701C64E9F4B}" srcOrd="0" destOrd="0" presId="urn:microsoft.com/office/officeart/2005/8/layout/cycle3"/>
    <dgm:cxn modelId="{4AB3E2E1-0E15-4C5A-88AD-01C00EE29CAF}" type="presParOf" srcId="{D8FE266C-143C-4AC8-AEDF-A701C64E9F4B}" destId="{6B910C45-2C99-49D6-A451-0F691DF77DB8}" srcOrd="0" destOrd="0" presId="urn:microsoft.com/office/officeart/2005/8/layout/cycle3"/>
    <dgm:cxn modelId="{C9BAC069-1DAC-44C4-B6E2-22B8399917C9}" type="presParOf" srcId="{6B910C45-2C99-49D6-A451-0F691DF77DB8}" destId="{06D131BE-2D32-4D11-A099-4D02C54A65D3}" srcOrd="0" destOrd="0" presId="urn:microsoft.com/office/officeart/2005/8/layout/cycle3"/>
    <dgm:cxn modelId="{87363BEB-BD27-4D90-B0F7-BA9E91C050FE}" type="presParOf" srcId="{6B910C45-2C99-49D6-A451-0F691DF77DB8}" destId="{D7109E7D-1A30-49E2-87AE-EFE5FC32B606}" srcOrd="1" destOrd="0" presId="urn:microsoft.com/office/officeart/2005/8/layout/cycle3"/>
    <dgm:cxn modelId="{BCC1688C-1E00-48D2-9D20-5C5D68DE1599}" type="presParOf" srcId="{6B910C45-2C99-49D6-A451-0F691DF77DB8}" destId="{C239D7A5-1F24-43A6-BD08-71B445CB4A29}" srcOrd="2" destOrd="0" presId="urn:microsoft.com/office/officeart/2005/8/layout/cycle3"/>
    <dgm:cxn modelId="{56448880-0D85-4D44-AA89-E462097C9C87}" type="presParOf" srcId="{6B910C45-2C99-49D6-A451-0F691DF77DB8}" destId="{89433EFB-7499-4EBB-A41E-108A7D20351E}" srcOrd="3" destOrd="0" presId="urn:microsoft.com/office/officeart/2005/8/layout/cycle3"/>
    <dgm:cxn modelId="{5B1B7C33-E8F1-4472-B0C5-231931ED15AB}" type="presParOf" srcId="{6B910C45-2C99-49D6-A451-0F691DF77DB8}" destId="{452C1206-2E03-468C-B2E2-F570655C2B37}" srcOrd="4" destOrd="0" presId="urn:microsoft.com/office/officeart/2005/8/layout/cycle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109E7D-1A30-49E2-87AE-EFE5FC32B606}">
      <dsp:nvSpPr>
        <dsp:cNvPr id="0" name=""/>
        <dsp:cNvSpPr/>
      </dsp:nvSpPr>
      <dsp:spPr>
        <a:xfrm>
          <a:off x="1470909" y="-97272"/>
          <a:ext cx="4335281" cy="4335281"/>
        </a:xfrm>
        <a:prstGeom prst="circularArrow">
          <a:avLst>
            <a:gd name="adj1" fmla="val 4668"/>
            <a:gd name="adj2" fmla="val 272909"/>
            <a:gd name="adj3" fmla="val 12930057"/>
            <a:gd name="adj4" fmla="val 17963916"/>
            <a:gd name="adj5" fmla="val 4847"/>
          </a:avLst>
        </a:prstGeom>
        <a:solidFill>
          <a:srgbClr val="336699"/>
        </a:solidFill>
        <a:ln>
          <a:noFill/>
        </a:ln>
        <a:effectLst/>
      </dsp:spPr>
      <dsp:style>
        <a:lnRef idx="0">
          <a:scrgbClr r="0" g="0" b="0"/>
        </a:lnRef>
        <a:fillRef idx="1">
          <a:scrgbClr r="0" g="0" b="0"/>
        </a:fillRef>
        <a:effectRef idx="0">
          <a:scrgbClr r="0" g="0" b="0"/>
        </a:effectRef>
        <a:fontRef idx="minor"/>
      </dsp:style>
    </dsp:sp>
    <dsp:sp modelId="{06D131BE-2D32-4D11-A099-4D02C54A65D3}">
      <dsp:nvSpPr>
        <dsp:cNvPr id="0" name=""/>
        <dsp:cNvSpPr/>
      </dsp:nvSpPr>
      <dsp:spPr>
        <a:xfrm>
          <a:off x="2231454" y="398"/>
          <a:ext cx="2814191" cy="1407095"/>
        </a:xfrm>
        <a:prstGeom prst="roundRect">
          <a:avLst/>
        </a:prstGeom>
        <a:solidFill>
          <a:schemeClr val="accent5">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ts val="0"/>
            </a:spcAft>
            <a:buNone/>
          </a:pPr>
          <a:r>
            <a:rPr lang="en-US" sz="1700" b="1" kern="1200" dirty="0">
              <a:solidFill>
                <a:schemeClr val="tx1"/>
              </a:solidFill>
              <a:latin typeface="Arial" charset="0"/>
            </a:rPr>
            <a:t> </a:t>
          </a:r>
          <a:r>
            <a:rPr lang="en-US" sz="1700" b="1" kern="1200" dirty="0">
              <a:solidFill>
                <a:srgbClr val="000000"/>
              </a:solidFill>
              <a:latin typeface="Arial" charset="0"/>
            </a:rPr>
            <a:t>Plants Conduct</a:t>
          </a:r>
        </a:p>
        <a:p>
          <a:pPr marL="0" lvl="0" indent="0" algn="ctr" defTabSz="755650">
            <a:lnSpc>
              <a:spcPct val="90000"/>
            </a:lnSpc>
            <a:spcBef>
              <a:spcPct val="0"/>
            </a:spcBef>
            <a:spcAft>
              <a:spcPts val="0"/>
            </a:spcAft>
            <a:buNone/>
          </a:pPr>
          <a:r>
            <a:rPr lang="en-US" sz="1700" b="1" kern="1200" dirty="0">
              <a:solidFill>
                <a:srgbClr val="000000"/>
              </a:solidFill>
              <a:latin typeface="Arial" charset="0"/>
            </a:rPr>
            <a:t>Baseline</a:t>
          </a:r>
          <a:br>
            <a:rPr lang="en-US" sz="1700" b="1" kern="1200" dirty="0">
              <a:solidFill>
                <a:srgbClr val="000000"/>
              </a:solidFill>
              <a:latin typeface="Arial" charset="0"/>
            </a:rPr>
          </a:br>
          <a:r>
            <a:rPr lang="en-US" sz="1700" b="1" kern="1200" dirty="0">
              <a:solidFill>
                <a:srgbClr val="000000"/>
              </a:solidFill>
              <a:latin typeface="Arial" charset="0"/>
            </a:rPr>
            <a:t>Self-Assessments</a:t>
          </a:r>
          <a:endParaRPr lang="en-US" sz="1700" kern="1200" dirty="0">
            <a:solidFill>
              <a:srgbClr val="000000"/>
            </a:solidFill>
          </a:endParaRPr>
        </a:p>
      </dsp:txBody>
      <dsp:txXfrm>
        <a:off x="2300143" y="69087"/>
        <a:ext cx="2676813" cy="1269717"/>
      </dsp:txXfrm>
    </dsp:sp>
    <dsp:sp modelId="{C239D7A5-1F24-43A6-BD08-71B445CB4A29}">
      <dsp:nvSpPr>
        <dsp:cNvPr id="0" name=""/>
        <dsp:cNvSpPr/>
      </dsp:nvSpPr>
      <dsp:spPr>
        <a:xfrm>
          <a:off x="3788108" y="1557052"/>
          <a:ext cx="2814191" cy="1407095"/>
        </a:xfrm>
        <a:prstGeom prst="roundRect">
          <a:avLst/>
        </a:prstGeom>
        <a:solidFill>
          <a:schemeClr val="accent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b="1" kern="1200" dirty="0">
              <a:solidFill>
                <a:srgbClr val="000000"/>
              </a:solidFill>
              <a:latin typeface="Arial" charset="0"/>
            </a:rPr>
            <a:t>“Improvement Visits” to Calibrate &amp; Validate </a:t>
          </a:r>
          <a:br>
            <a:rPr lang="en-US" sz="1700" b="1" kern="1200" dirty="0">
              <a:solidFill>
                <a:srgbClr val="000000"/>
              </a:solidFill>
              <a:latin typeface="Arial" charset="0"/>
            </a:rPr>
          </a:br>
          <a:r>
            <a:rPr lang="en-US" sz="1700" b="1" kern="1200" dirty="0">
              <a:solidFill>
                <a:srgbClr val="000000"/>
              </a:solidFill>
              <a:latin typeface="Arial" charset="0"/>
            </a:rPr>
            <a:t>Self-Assessments</a:t>
          </a:r>
          <a:endParaRPr lang="en-US" sz="1700" kern="1200" dirty="0">
            <a:solidFill>
              <a:srgbClr val="000000"/>
            </a:solidFill>
          </a:endParaRPr>
        </a:p>
      </dsp:txBody>
      <dsp:txXfrm>
        <a:off x="3856797" y="1625741"/>
        <a:ext cx="2676813" cy="1269717"/>
      </dsp:txXfrm>
    </dsp:sp>
    <dsp:sp modelId="{89433EFB-7499-4EBB-A41E-108A7D20351E}">
      <dsp:nvSpPr>
        <dsp:cNvPr id="0" name=""/>
        <dsp:cNvSpPr/>
      </dsp:nvSpPr>
      <dsp:spPr>
        <a:xfrm>
          <a:off x="2136203" y="3047995"/>
          <a:ext cx="2814191" cy="1407095"/>
        </a:xfrm>
        <a:prstGeom prst="roundRect">
          <a:avLst/>
        </a:prstGeom>
        <a:solidFill>
          <a:srgbClr val="33669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b="1" kern="1200" dirty="0">
              <a:solidFill>
                <a:srgbClr val="FFFFFF"/>
              </a:solidFill>
              <a:latin typeface="Arial" charset="0"/>
            </a:rPr>
            <a:t>Plants Receive </a:t>
          </a:r>
          <a:br>
            <a:rPr lang="en-US" sz="1700" b="1" kern="1200" dirty="0">
              <a:solidFill>
                <a:srgbClr val="FFFFFF"/>
              </a:solidFill>
              <a:latin typeface="Arial" charset="0"/>
            </a:rPr>
          </a:br>
          <a:r>
            <a:rPr lang="en-US" sz="1700" b="1" kern="1200" dirty="0">
              <a:solidFill>
                <a:srgbClr val="FFFFFF"/>
              </a:solidFill>
              <a:latin typeface="Arial" charset="0"/>
            </a:rPr>
            <a:t>Formal Feedback</a:t>
          </a:r>
          <a:endParaRPr lang="en-US" sz="1700" kern="1200" dirty="0">
            <a:solidFill>
              <a:srgbClr val="FFFFFF"/>
            </a:solidFill>
          </a:endParaRPr>
        </a:p>
      </dsp:txBody>
      <dsp:txXfrm>
        <a:off x="2204892" y="3116684"/>
        <a:ext cx="2676813" cy="1269717"/>
      </dsp:txXfrm>
    </dsp:sp>
    <dsp:sp modelId="{452C1206-2E03-468C-B2E2-F570655C2B37}">
      <dsp:nvSpPr>
        <dsp:cNvPr id="0" name=""/>
        <dsp:cNvSpPr/>
      </dsp:nvSpPr>
      <dsp:spPr>
        <a:xfrm>
          <a:off x="674800" y="1557052"/>
          <a:ext cx="2814191" cy="1407095"/>
        </a:xfrm>
        <a:prstGeom prst="roundRect">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b="1" kern="1200" dirty="0">
              <a:solidFill>
                <a:srgbClr val="FFFFFF"/>
              </a:solidFill>
              <a:latin typeface="Arial" charset="0"/>
            </a:rPr>
            <a:t>Plants Execute Improvement Plans,</a:t>
          </a:r>
          <a:br>
            <a:rPr lang="en-US" sz="1700" b="1" kern="1200" dirty="0">
              <a:solidFill>
                <a:srgbClr val="FFFFFF"/>
              </a:solidFill>
              <a:latin typeface="Arial" charset="0"/>
            </a:rPr>
          </a:br>
          <a:r>
            <a:rPr lang="en-US" sz="1700" b="1" kern="1200" dirty="0">
              <a:solidFill>
                <a:srgbClr val="FFFFFF"/>
              </a:solidFill>
              <a:latin typeface="Arial" charset="0"/>
            </a:rPr>
            <a:t>Benchmark Best Practices &amp; Improve Management System </a:t>
          </a:r>
          <a:endParaRPr lang="en-US" sz="1700" kern="1200" dirty="0">
            <a:solidFill>
              <a:srgbClr val="FFFFFF"/>
            </a:solidFill>
          </a:endParaRPr>
        </a:p>
      </dsp:txBody>
      <dsp:txXfrm>
        <a:off x="743489" y="1625741"/>
        <a:ext cx="2676813" cy="1269717"/>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CA20E5C-421A-4998-833E-27D5947FBE40}" type="datetimeFigureOut">
              <a:rPr lang="en-US" smtClean="0"/>
              <a:t>10/14/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775266-6AC9-4E97-8B09-14D223B45E75}" type="slidenum">
              <a:rPr lang="en-US" smtClean="0"/>
              <a:t>‹#›</a:t>
            </a:fld>
            <a:endParaRPr lang="en-US"/>
          </a:p>
        </p:txBody>
      </p:sp>
    </p:spTree>
    <p:extLst>
      <p:ext uri="{BB962C8B-B14F-4D97-AF65-F5344CB8AC3E}">
        <p14:creationId xmlns:p14="http://schemas.microsoft.com/office/powerpoint/2010/main" val="39607705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8713310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8188" y="1152525"/>
            <a:ext cx="5534025" cy="31130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F714FEE-199E-8641-9DC5-C62470BFDAF9}" type="slidenum">
              <a:rPr kumimoji="0" lang="en-US" sz="1100" b="0" i="0" u="none" strike="noStrike" kern="1200" cap="none" spc="0" normalizeH="0" baseline="0" noProof="0" smtClean="0">
                <a:ln>
                  <a:noFill/>
                </a:ln>
                <a:solidFill>
                  <a:srgbClr val="000000"/>
                </a:solidFill>
                <a:effectLst/>
                <a:uLnTx/>
                <a:uFillTx/>
                <a:latin typeface="Century Gothic" panose="020B0502020202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1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12078512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2">
        <a:schemeClr val="bg2"/>
      </p:bgRef>
    </p:bg>
    <p:spTree>
      <p:nvGrpSpPr>
        <p:cNvPr id="1" name=""/>
        <p:cNvGrpSpPr/>
        <p:nvPr/>
      </p:nvGrpSpPr>
      <p:grpSpPr>
        <a:xfrm>
          <a:off x="0" y="0"/>
          <a:ext cx="0" cy="0"/>
          <a:chOff x="0" y="0"/>
          <a:chExt cx="0" cy="0"/>
        </a:xfrm>
      </p:grpSpPr>
      <p:sp>
        <p:nvSpPr>
          <p:cNvPr id="9" name="Rectangle 8"/>
          <p:cNvSpPr/>
          <p:nvPr/>
        </p:nvSpPr>
        <p:spPr bwMode="ltGray">
          <a:xfrm>
            <a:off x="13" y="7"/>
            <a:ext cx="12191999" cy="5135431"/>
          </a:xfrm>
          <a:prstGeom prst="rect">
            <a:avLst/>
          </a:prstGeom>
          <a:solidFill>
            <a:srgbClr val="000000"/>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lIns="91421" tIns="45710" rIns="91421" bIns="45710" rtlCol="0" anchor="ctr"/>
          <a:lstStyle/>
          <a:p>
            <a:pPr algn="ctr" defTabSz="914206"/>
            <a:endParaRPr lang="en-US" sz="1800">
              <a:solidFill>
                <a:prstClr val="white"/>
              </a:solidFill>
              <a:latin typeface="Corbel"/>
            </a:endParaRPr>
          </a:p>
        </p:txBody>
      </p:sp>
      <p:sp>
        <p:nvSpPr>
          <p:cNvPr id="2" name="Title 1"/>
          <p:cNvSpPr>
            <a:spLocks noGrp="1"/>
          </p:cNvSpPr>
          <p:nvPr>
            <p:ph type="ctrTitle"/>
          </p:nvPr>
        </p:nvSpPr>
        <p:spPr>
          <a:xfrm>
            <a:off x="914400" y="3355851"/>
            <a:ext cx="10769600" cy="1673352"/>
          </a:xfrm>
        </p:spPr>
        <p:txBody>
          <a:bodyPr vert="horz" lIns="91421" tIns="0" rIns="45710" bIns="0" rtlCol="0" anchor="t">
            <a:normAutofit/>
            <a:scene3d>
              <a:camera prst="orthographicFront"/>
              <a:lightRig rig="threePt" dir="t">
                <a:rot lat="0" lon="0" rev="4800000"/>
              </a:lightRig>
            </a:scene3d>
            <a:sp3d prstMaterial="matte">
              <a:bevelT w="50800" h="10160"/>
            </a:sp3d>
          </a:bodyPr>
          <a:lstStyle>
            <a:lvl1pPr algn="l">
              <a:defRPr sz="4700" b="1"/>
            </a:lvl1pPr>
            <a:extLst/>
          </a:lstStyle>
          <a:p>
            <a:r>
              <a:rPr kumimoji="0" lang="en-US"/>
              <a:t>Click to edit Master title style</a:t>
            </a:r>
          </a:p>
        </p:txBody>
      </p:sp>
      <p:sp>
        <p:nvSpPr>
          <p:cNvPr id="3" name="Subtitle 2"/>
          <p:cNvSpPr>
            <a:spLocks noGrp="1"/>
          </p:cNvSpPr>
          <p:nvPr>
            <p:ph type="subTitle" idx="1"/>
          </p:nvPr>
        </p:nvSpPr>
        <p:spPr>
          <a:xfrm>
            <a:off x="914400" y="1828800"/>
            <a:ext cx="10769600" cy="1499616"/>
          </a:xfrm>
        </p:spPr>
        <p:txBody>
          <a:bodyPr lIns="118846" tIns="0" rIns="45710" bIns="0" anchor="b"/>
          <a:lstStyle>
            <a:lvl1pPr marL="0" indent="0" algn="l">
              <a:buNone/>
              <a:defRPr sz="2000">
                <a:solidFill>
                  <a:srgbClr val="FFFFFF"/>
                </a:solidFill>
              </a:defRPr>
            </a:lvl1pPr>
            <a:lvl2pPr marL="457103" indent="0" algn="ctr">
              <a:buNone/>
              <a:defRPr>
                <a:solidFill>
                  <a:schemeClr val="tx1">
                    <a:tint val="75000"/>
                  </a:schemeClr>
                </a:solidFill>
              </a:defRPr>
            </a:lvl2pPr>
            <a:lvl3pPr marL="914206" indent="0" algn="ctr">
              <a:buNone/>
              <a:defRPr>
                <a:solidFill>
                  <a:schemeClr val="tx1">
                    <a:tint val="75000"/>
                  </a:schemeClr>
                </a:solidFill>
              </a:defRPr>
            </a:lvl3pPr>
            <a:lvl4pPr marL="1371310" indent="0" algn="ctr">
              <a:buNone/>
              <a:defRPr>
                <a:solidFill>
                  <a:schemeClr val="tx1">
                    <a:tint val="75000"/>
                  </a:schemeClr>
                </a:solidFill>
              </a:defRPr>
            </a:lvl4pPr>
            <a:lvl5pPr marL="1828412" indent="0" algn="ctr">
              <a:buNone/>
              <a:defRPr>
                <a:solidFill>
                  <a:schemeClr val="tx1">
                    <a:tint val="75000"/>
                  </a:schemeClr>
                </a:solidFill>
              </a:defRPr>
            </a:lvl5pPr>
            <a:lvl6pPr marL="2285516" indent="0" algn="ctr">
              <a:buNone/>
              <a:defRPr>
                <a:solidFill>
                  <a:schemeClr val="tx1">
                    <a:tint val="75000"/>
                  </a:schemeClr>
                </a:solidFill>
              </a:defRPr>
            </a:lvl6pPr>
            <a:lvl7pPr marL="2742618" indent="0" algn="ctr">
              <a:buNone/>
              <a:defRPr>
                <a:solidFill>
                  <a:schemeClr val="tx1">
                    <a:tint val="75000"/>
                  </a:schemeClr>
                </a:solidFill>
              </a:defRPr>
            </a:lvl7pPr>
            <a:lvl8pPr marL="3199722" indent="0" algn="ctr">
              <a:buNone/>
              <a:defRPr>
                <a:solidFill>
                  <a:schemeClr val="tx1">
                    <a:tint val="75000"/>
                  </a:schemeClr>
                </a:solidFill>
              </a:defRPr>
            </a:lvl8pPr>
            <a:lvl9pPr marL="3656825" indent="0" algn="ctr">
              <a:buNone/>
              <a:defRPr>
                <a:solidFill>
                  <a:schemeClr val="tx1">
                    <a:tint val="75000"/>
                  </a:schemeClr>
                </a:solidFill>
              </a:defRPr>
            </a:lvl9pPr>
            <a:extLst/>
          </a:lstStyle>
          <a:p>
            <a:r>
              <a:rPr kumimoji="0" lang="en-US"/>
              <a:t>Click to edit Master subtitle style</a:t>
            </a:r>
          </a:p>
        </p:txBody>
      </p:sp>
      <p:sp>
        <p:nvSpPr>
          <p:cNvPr id="4" name="Date Placeholder 3"/>
          <p:cNvSpPr>
            <a:spLocks noGrp="1"/>
          </p:cNvSpPr>
          <p:nvPr>
            <p:ph type="dt" sz="half" idx="10"/>
          </p:nvPr>
        </p:nvSpPr>
        <p:spPr/>
        <p:txBody>
          <a:bodyPr/>
          <a:lstStyle/>
          <a:p>
            <a:fld id="{968505FD-053B-47C4-B9BE-A64CC0824E06}" type="datetimeFigureOut">
              <a:rPr lang="en-US" smtClean="0">
                <a:solidFill>
                  <a:prstClr val="white">
                    <a:tint val="95000"/>
                  </a:prstClr>
                </a:solidFill>
                <a:latin typeface="Corbel"/>
              </a:rPr>
              <a:pPr/>
              <a:t>10/14/2019</a:t>
            </a:fld>
            <a:endParaRPr lang="en-US">
              <a:solidFill>
                <a:prstClr val="white">
                  <a:tint val="95000"/>
                </a:prstClr>
              </a:solidFill>
              <a:latin typeface="Corbel"/>
            </a:endParaRPr>
          </a:p>
        </p:txBody>
      </p:sp>
      <p:sp>
        <p:nvSpPr>
          <p:cNvPr id="5" name="Footer Placeholder 4"/>
          <p:cNvSpPr>
            <a:spLocks noGrp="1"/>
          </p:cNvSpPr>
          <p:nvPr>
            <p:ph type="ftr" sz="quarter" idx="11"/>
          </p:nvPr>
        </p:nvSpPr>
        <p:spPr/>
        <p:txBody>
          <a:bodyPr/>
          <a:lstStyle/>
          <a:p>
            <a:endParaRPr lang="en-US">
              <a:solidFill>
                <a:prstClr val="white">
                  <a:tint val="95000"/>
                </a:prstClr>
              </a:solidFill>
              <a:latin typeface="Corbel"/>
            </a:endParaRPr>
          </a:p>
        </p:txBody>
      </p:sp>
      <p:sp>
        <p:nvSpPr>
          <p:cNvPr id="6" name="Slide Number Placeholder 5"/>
          <p:cNvSpPr>
            <a:spLocks noGrp="1"/>
          </p:cNvSpPr>
          <p:nvPr>
            <p:ph type="sldNum" sz="quarter" idx="12"/>
          </p:nvPr>
        </p:nvSpPr>
        <p:spPr/>
        <p:txBody>
          <a:bodyPr/>
          <a:lstStyle/>
          <a:p>
            <a:fld id="{5CA8C7E4-D10A-4A6B-806E-F5DCAF195BAA}" type="slidenum">
              <a:rPr lang="en-US" smtClean="0">
                <a:solidFill>
                  <a:prstClr val="white">
                    <a:tint val="95000"/>
                  </a:prstClr>
                </a:solidFill>
                <a:latin typeface="Corbel"/>
              </a:rPr>
              <a:pPr/>
              <a:t>‹#›</a:t>
            </a:fld>
            <a:endParaRPr lang="en-US">
              <a:solidFill>
                <a:prstClr val="white">
                  <a:tint val="95000"/>
                </a:prstClr>
              </a:solidFill>
              <a:latin typeface="Corbel"/>
            </a:endParaRPr>
          </a:p>
        </p:txBody>
      </p:sp>
      <p:sp>
        <p:nvSpPr>
          <p:cNvPr id="10" name="Rectangle 9"/>
          <p:cNvSpPr/>
          <p:nvPr/>
        </p:nvSpPr>
        <p:spPr bwMode="invGray">
          <a:xfrm>
            <a:off x="0" y="5128336"/>
            <a:ext cx="12192000" cy="45720"/>
          </a:xfrm>
          <a:prstGeom prst="rect">
            <a:avLst/>
          </a:prstGeom>
          <a:solidFill>
            <a:srgbClr val="FFFFFF"/>
          </a:solidFill>
          <a:ln w="48000" cap="flat" cmpd="thickThin" algn="ctr">
            <a:noFill/>
            <a:prstDash val="solid"/>
          </a:ln>
          <a:effectLst>
            <a:outerShdw blurRad="31750" dist="10160" dir="5400000" algn="tl" rotWithShape="0">
              <a:srgbClr val="000000">
                <a:alpha val="60000"/>
              </a:srgbClr>
            </a:outerShdw>
          </a:effectLst>
        </p:spPr>
        <p:style>
          <a:lnRef idx="2">
            <a:schemeClr val="accent1"/>
          </a:lnRef>
          <a:fillRef idx="1">
            <a:schemeClr val="accent1"/>
          </a:fillRef>
          <a:effectRef idx="0">
            <a:schemeClr val="accent1"/>
          </a:effectRef>
          <a:fontRef idx="minor">
            <a:schemeClr val="lt1"/>
          </a:fontRef>
        </p:style>
        <p:txBody>
          <a:bodyPr lIns="91421" tIns="45710" rIns="91421" bIns="45710" rtlCol="0" anchor="ctr"/>
          <a:lstStyle/>
          <a:p>
            <a:pPr algn="ctr" defTabSz="914206"/>
            <a:endParaRPr lang="en-US" sz="1800">
              <a:solidFill>
                <a:prstClr val="white"/>
              </a:solidFill>
              <a:latin typeface="Corbel"/>
            </a:endParaRPr>
          </a:p>
        </p:txBody>
      </p:sp>
    </p:spTree>
    <p:extLst>
      <p:ext uri="{BB962C8B-B14F-4D97-AF65-F5344CB8AC3E}">
        <p14:creationId xmlns:p14="http://schemas.microsoft.com/office/powerpoint/2010/main" val="884633566"/>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Vertical Text Placeholder 2"/>
          <p:cNvSpPr>
            <a:spLocks noGrp="1"/>
          </p:cNvSpPr>
          <p:nvPr>
            <p:ph type="body" orient="vert" idx="1"/>
          </p:nvPr>
        </p:nvSpPr>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968505FD-053B-47C4-B9BE-A64CC0824E06}" type="datetimeFigureOut">
              <a:rPr lang="en-US" smtClean="0">
                <a:solidFill>
                  <a:prstClr val="black">
                    <a:tint val="95000"/>
                  </a:prstClr>
                </a:solidFill>
                <a:latin typeface="Corbel"/>
              </a:rPr>
              <a:pPr/>
              <a:t>10/14/2019</a:t>
            </a:fld>
            <a:endParaRPr lang="en-US">
              <a:solidFill>
                <a:prstClr val="black">
                  <a:tint val="95000"/>
                </a:prstClr>
              </a:solidFill>
              <a:latin typeface="Corbel"/>
            </a:endParaRPr>
          </a:p>
        </p:txBody>
      </p:sp>
      <p:sp>
        <p:nvSpPr>
          <p:cNvPr id="5" name="Footer Placeholder 4"/>
          <p:cNvSpPr>
            <a:spLocks noGrp="1"/>
          </p:cNvSpPr>
          <p:nvPr>
            <p:ph type="ftr" sz="quarter" idx="11"/>
          </p:nvPr>
        </p:nvSpPr>
        <p:spPr/>
        <p:txBody>
          <a:bodyPr/>
          <a:lstStyle/>
          <a:p>
            <a:endParaRPr lang="en-US">
              <a:solidFill>
                <a:prstClr val="black">
                  <a:tint val="95000"/>
                </a:prstClr>
              </a:solidFill>
              <a:latin typeface="Corbel"/>
            </a:endParaRPr>
          </a:p>
        </p:txBody>
      </p:sp>
      <p:sp>
        <p:nvSpPr>
          <p:cNvPr id="6" name="Slide Number Placeholder 5"/>
          <p:cNvSpPr>
            <a:spLocks noGrp="1"/>
          </p:cNvSpPr>
          <p:nvPr>
            <p:ph type="sldNum" sz="quarter" idx="12"/>
          </p:nvPr>
        </p:nvSpPr>
        <p:spPr/>
        <p:txBody>
          <a:bodyPr/>
          <a:lstStyle/>
          <a:p>
            <a:fld id="{5CA8C7E4-D10A-4A6B-806E-F5DCAF195BAA}" type="slidenum">
              <a:rPr lang="en-US" smtClean="0">
                <a:solidFill>
                  <a:prstClr val="black">
                    <a:tint val="95000"/>
                  </a:prstClr>
                </a:solidFill>
                <a:latin typeface="Corbel"/>
              </a:rPr>
              <a:pPr/>
              <a:t>‹#›</a:t>
            </a:fld>
            <a:endParaRPr lang="en-US">
              <a:solidFill>
                <a:prstClr val="black">
                  <a:tint val="95000"/>
                </a:prstClr>
              </a:solidFill>
              <a:latin typeface="Corbel"/>
            </a:endParaRPr>
          </a:p>
        </p:txBody>
      </p:sp>
    </p:spTree>
    <p:extLst>
      <p:ext uri="{BB962C8B-B14F-4D97-AF65-F5344CB8AC3E}">
        <p14:creationId xmlns:p14="http://schemas.microsoft.com/office/powerpoint/2010/main" val="32623194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9" name="Rectangle 8"/>
          <p:cNvSpPr/>
          <p:nvPr/>
        </p:nvSpPr>
        <p:spPr bwMode="invGray">
          <a:xfrm>
            <a:off x="8798560" y="0"/>
            <a:ext cx="60960" cy="6858000"/>
          </a:xfrm>
          <a:prstGeom prst="rect">
            <a:avLst/>
          </a:prstGeom>
          <a:solidFill>
            <a:srgbClr val="FFFFFF"/>
          </a:solidFill>
          <a:ln w="48000" cap="flat" cmpd="thickThin" algn="ctr">
            <a:noFill/>
            <a:prstDash val="solid"/>
          </a:ln>
          <a:effectLst>
            <a:outerShdw blurRad="31750" dist="10160" dir="10800000" algn="tl" rotWithShape="0">
              <a:srgbClr val="000000">
                <a:alpha val="60000"/>
              </a:srgbClr>
            </a:outerShdw>
          </a:effectLst>
        </p:spPr>
        <p:style>
          <a:lnRef idx="2">
            <a:schemeClr val="accent1"/>
          </a:lnRef>
          <a:fillRef idx="1">
            <a:schemeClr val="accent1"/>
          </a:fillRef>
          <a:effectRef idx="0">
            <a:schemeClr val="accent1"/>
          </a:effectRef>
          <a:fontRef idx="minor">
            <a:schemeClr val="lt1"/>
          </a:fontRef>
        </p:style>
        <p:txBody>
          <a:bodyPr lIns="91421" tIns="45710" rIns="91421" bIns="45710" rtlCol="0" anchor="ctr"/>
          <a:lstStyle/>
          <a:p>
            <a:pPr algn="ctr" defTabSz="914206"/>
            <a:endParaRPr lang="en-US" sz="1800">
              <a:solidFill>
                <a:prstClr val="white"/>
              </a:solidFill>
              <a:latin typeface="Corbel"/>
            </a:endParaRPr>
          </a:p>
        </p:txBody>
      </p:sp>
      <p:sp>
        <p:nvSpPr>
          <p:cNvPr id="8" name="Rectangle 7"/>
          <p:cNvSpPr/>
          <p:nvPr/>
        </p:nvSpPr>
        <p:spPr bwMode="ltGray">
          <a:xfrm>
            <a:off x="8863606" y="0"/>
            <a:ext cx="3352801" cy="6858000"/>
          </a:xfrm>
          <a:prstGeom prst="rect">
            <a:avLst/>
          </a:prstGeom>
          <a:solidFill>
            <a:srgbClr val="000000"/>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lIns="91421" tIns="45710" rIns="91421" bIns="45710" rtlCol="0" anchor="ctr"/>
          <a:lstStyle/>
          <a:p>
            <a:pPr algn="ctr" defTabSz="914206"/>
            <a:endParaRPr lang="en-US" sz="1800">
              <a:solidFill>
                <a:prstClr val="white"/>
              </a:solidFill>
              <a:latin typeface="Corbel"/>
            </a:endParaRPr>
          </a:p>
        </p:txBody>
      </p:sp>
      <p:sp>
        <p:nvSpPr>
          <p:cNvPr id="2" name="Vertical Title 1"/>
          <p:cNvSpPr>
            <a:spLocks noGrp="1"/>
          </p:cNvSpPr>
          <p:nvPr>
            <p:ph type="title" orient="vert"/>
          </p:nvPr>
        </p:nvSpPr>
        <p:spPr>
          <a:xfrm>
            <a:off x="9042400" y="274649"/>
            <a:ext cx="2540000" cy="5851525"/>
          </a:xfrm>
        </p:spPr>
        <p:txBody>
          <a:bodyPr vert="eaVert"/>
          <a:lstStyle/>
          <a:p>
            <a:r>
              <a:rPr kumimoji="0" lang="en-US"/>
              <a:t>Click to edit Master title style</a:t>
            </a:r>
          </a:p>
        </p:txBody>
      </p:sp>
      <p:sp>
        <p:nvSpPr>
          <p:cNvPr id="3" name="Vertical Text Placeholder 2"/>
          <p:cNvSpPr>
            <a:spLocks noGrp="1"/>
          </p:cNvSpPr>
          <p:nvPr>
            <p:ph type="body" orient="vert" idx="1"/>
          </p:nvPr>
        </p:nvSpPr>
        <p:spPr>
          <a:xfrm>
            <a:off x="609600" y="304808"/>
            <a:ext cx="8026400" cy="5851525"/>
          </a:xfrm>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968505FD-053B-47C4-B9BE-A64CC0824E06}" type="datetimeFigureOut">
              <a:rPr lang="en-US" smtClean="0">
                <a:solidFill>
                  <a:prstClr val="black">
                    <a:tint val="95000"/>
                  </a:prstClr>
                </a:solidFill>
                <a:latin typeface="Corbel"/>
              </a:rPr>
              <a:pPr/>
              <a:t>10/14/2019</a:t>
            </a:fld>
            <a:endParaRPr lang="en-US">
              <a:solidFill>
                <a:prstClr val="black">
                  <a:tint val="95000"/>
                </a:prstClr>
              </a:solidFill>
              <a:latin typeface="Corbel"/>
            </a:endParaRPr>
          </a:p>
        </p:txBody>
      </p:sp>
      <p:sp>
        <p:nvSpPr>
          <p:cNvPr id="5" name="Footer Placeholder 4"/>
          <p:cNvSpPr>
            <a:spLocks noGrp="1"/>
          </p:cNvSpPr>
          <p:nvPr>
            <p:ph type="ftr" sz="quarter" idx="11"/>
          </p:nvPr>
        </p:nvSpPr>
        <p:spPr>
          <a:xfrm>
            <a:off x="3520796" y="6377491"/>
            <a:ext cx="5115205" cy="365125"/>
          </a:xfrm>
        </p:spPr>
        <p:txBody>
          <a:bodyPr/>
          <a:lstStyle/>
          <a:p>
            <a:endParaRPr lang="en-US">
              <a:solidFill>
                <a:prstClr val="black">
                  <a:tint val="95000"/>
                </a:prstClr>
              </a:solidFill>
              <a:latin typeface="Corbel"/>
            </a:endParaRPr>
          </a:p>
        </p:txBody>
      </p:sp>
      <p:sp>
        <p:nvSpPr>
          <p:cNvPr id="6" name="Slide Number Placeholder 5"/>
          <p:cNvSpPr>
            <a:spLocks noGrp="1"/>
          </p:cNvSpPr>
          <p:nvPr>
            <p:ph type="sldNum" sz="quarter" idx="12"/>
          </p:nvPr>
        </p:nvSpPr>
        <p:spPr/>
        <p:txBody>
          <a:bodyPr/>
          <a:lstStyle/>
          <a:p>
            <a:fld id="{5CA8C7E4-D10A-4A6B-806E-F5DCAF195BAA}" type="slidenum">
              <a:rPr lang="en-US" smtClean="0">
                <a:solidFill>
                  <a:prstClr val="black">
                    <a:tint val="95000"/>
                  </a:prstClr>
                </a:solidFill>
                <a:latin typeface="Corbel"/>
              </a:rPr>
              <a:pPr/>
              <a:t>‹#›</a:t>
            </a:fld>
            <a:endParaRPr lang="en-US">
              <a:solidFill>
                <a:prstClr val="black">
                  <a:tint val="95000"/>
                </a:prstClr>
              </a:solidFill>
              <a:latin typeface="Corbel"/>
            </a:endParaRPr>
          </a:p>
        </p:txBody>
      </p:sp>
    </p:spTree>
    <p:extLst>
      <p:ext uri="{BB962C8B-B14F-4D97-AF65-F5344CB8AC3E}">
        <p14:creationId xmlns:p14="http://schemas.microsoft.com/office/powerpoint/2010/main" val="12816686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AD2EA6A-02C7-431F-AC23-2DA99874C698}"/>
              </a:ext>
            </a:extLst>
          </p:cNvPr>
          <p:cNvSpPr/>
          <p:nvPr userDrawn="1"/>
        </p:nvSpPr>
        <p:spPr>
          <a:xfrm>
            <a:off x="-3096" y="0"/>
            <a:ext cx="12192000"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6" name="Freeform 24">
            <a:extLst>
              <a:ext uri="{FF2B5EF4-FFF2-40B4-BE49-F238E27FC236}">
                <a16:creationId xmlns:a16="http://schemas.microsoft.com/office/drawing/2014/main" id="{69B39CEA-EAC5-4701-A226-B740ED41FA3C}"/>
              </a:ext>
            </a:extLst>
          </p:cNvPr>
          <p:cNvSpPr/>
          <p:nvPr userDrawn="1"/>
        </p:nvSpPr>
        <p:spPr>
          <a:xfrm>
            <a:off x="3096" y="0"/>
            <a:ext cx="5794893" cy="6858000"/>
          </a:xfrm>
          <a:custGeom>
            <a:avLst/>
            <a:gdLst>
              <a:gd name="connsiteX0" fmla="*/ 60222 w 5794893"/>
              <a:gd name="connsiteY0" fmla="*/ 0 h 6858000"/>
              <a:gd name="connsiteX1" fmla="*/ 123428 w 5794893"/>
              <a:gd name="connsiteY1" fmla="*/ 0 h 6858000"/>
              <a:gd name="connsiteX2" fmla="*/ 129048 w 5794893"/>
              <a:gd name="connsiteY2" fmla="*/ 97144 h 6858000"/>
              <a:gd name="connsiteX3" fmla="*/ 188042 w 5794893"/>
              <a:gd name="connsiteY3" fmla="*/ 92228 h 6858000"/>
              <a:gd name="connsiteX4" fmla="*/ 181944 w 5794893"/>
              <a:gd name="connsiteY4" fmla="*/ 0 h 6858000"/>
              <a:gd name="connsiteX5" fmla="*/ 246440 w 5794893"/>
              <a:gd name="connsiteY5" fmla="*/ 0 h 6858000"/>
              <a:gd name="connsiteX6" fmla="*/ 260555 w 5794893"/>
              <a:gd name="connsiteY6" fmla="*/ 97144 h 6858000"/>
              <a:gd name="connsiteX7" fmla="*/ 317091 w 5794893"/>
              <a:gd name="connsiteY7" fmla="*/ 87311 h 6858000"/>
              <a:gd name="connsiteX8" fmla="*/ 305151 w 5794893"/>
              <a:gd name="connsiteY8" fmla="*/ 0 h 6858000"/>
              <a:gd name="connsiteX9" fmla="*/ 368602 w 5794893"/>
              <a:gd name="connsiteY9" fmla="*/ 0 h 6858000"/>
              <a:gd name="connsiteX10" fmla="*/ 388375 w 5794893"/>
              <a:gd name="connsiteY10" fmla="*/ 97144 h 6858000"/>
              <a:gd name="connsiteX11" fmla="*/ 443681 w 5794893"/>
              <a:gd name="connsiteY11" fmla="*/ 82395 h 6858000"/>
              <a:gd name="connsiteX12" fmla="*/ 426181 w 5794893"/>
              <a:gd name="connsiteY12" fmla="*/ 0 h 6858000"/>
              <a:gd name="connsiteX13" fmla="*/ 490133 w 5794893"/>
              <a:gd name="connsiteY13" fmla="*/ 0 h 6858000"/>
              <a:gd name="connsiteX14" fmla="*/ 518652 w 5794893"/>
              <a:gd name="connsiteY14" fmla="*/ 97144 h 6858000"/>
              <a:gd name="connsiteX15" fmla="*/ 571500 w 5794893"/>
              <a:gd name="connsiteY15" fmla="*/ 77479 h 6858000"/>
              <a:gd name="connsiteX16" fmla="*/ 548754 w 5794893"/>
              <a:gd name="connsiteY16" fmla="*/ 0 h 6858000"/>
              <a:gd name="connsiteX17" fmla="*/ 611923 w 5794893"/>
              <a:gd name="connsiteY17" fmla="*/ 0 h 6858000"/>
              <a:gd name="connsiteX18" fmla="*/ 648930 w 5794893"/>
              <a:gd name="connsiteY18" fmla="*/ 97144 h 6858000"/>
              <a:gd name="connsiteX19" fmla="*/ 699320 w 5794893"/>
              <a:gd name="connsiteY19" fmla="*/ 72563 h 6858000"/>
              <a:gd name="connsiteX20" fmla="*/ 672368 w 5794893"/>
              <a:gd name="connsiteY20" fmla="*/ 0 h 6858000"/>
              <a:gd name="connsiteX21" fmla="*/ 733040 w 5794893"/>
              <a:gd name="connsiteY21" fmla="*/ 0 h 6858000"/>
              <a:gd name="connsiteX22" fmla="*/ 779207 w 5794893"/>
              <a:gd name="connsiteY22" fmla="*/ 97144 h 6858000"/>
              <a:gd name="connsiteX23" fmla="*/ 828369 w 5794893"/>
              <a:gd name="connsiteY23" fmla="*/ 67647 h 6858000"/>
              <a:gd name="connsiteX24" fmla="*/ 796220 w 5794893"/>
              <a:gd name="connsiteY24" fmla="*/ 0 h 6858000"/>
              <a:gd name="connsiteX25" fmla="*/ 852601 w 5794893"/>
              <a:gd name="connsiteY25" fmla="*/ 0 h 6858000"/>
              <a:gd name="connsiteX26" fmla="*/ 908255 w 5794893"/>
              <a:gd name="connsiteY26" fmla="*/ 97144 h 6858000"/>
              <a:gd name="connsiteX27" fmla="*/ 954959 w 5794893"/>
              <a:gd name="connsiteY27" fmla="*/ 62731 h 6858000"/>
              <a:gd name="connsiteX28" fmla="*/ 919390 w 5794893"/>
              <a:gd name="connsiteY28" fmla="*/ 0 h 6858000"/>
              <a:gd name="connsiteX29" fmla="*/ 971623 w 5794893"/>
              <a:gd name="connsiteY29" fmla="*/ 0 h 6858000"/>
              <a:gd name="connsiteX30" fmla="*/ 1037304 w 5794893"/>
              <a:gd name="connsiteY30" fmla="*/ 95915 h 6858000"/>
              <a:gd name="connsiteX31" fmla="*/ 1082778 w 5794893"/>
              <a:gd name="connsiteY31" fmla="*/ 56586 h 6858000"/>
              <a:gd name="connsiteX32" fmla="*/ 1044029 w 5794893"/>
              <a:gd name="connsiteY32" fmla="*/ 0 h 6858000"/>
              <a:gd name="connsiteX33" fmla="*/ 1089204 w 5794893"/>
              <a:gd name="connsiteY33" fmla="*/ 0 h 6858000"/>
              <a:gd name="connsiteX34" fmla="*/ 1167582 w 5794893"/>
              <a:gd name="connsiteY34" fmla="*/ 97144 h 6858000"/>
              <a:gd name="connsiteX35" fmla="*/ 1210598 w 5794893"/>
              <a:gd name="connsiteY35" fmla="*/ 51670 h 6858000"/>
              <a:gd name="connsiteX36" fmla="*/ 1168910 w 5794893"/>
              <a:gd name="connsiteY36" fmla="*/ 0 h 6858000"/>
              <a:gd name="connsiteX37" fmla="*/ 1206350 w 5794893"/>
              <a:gd name="connsiteY37" fmla="*/ 0 h 6858000"/>
              <a:gd name="connsiteX38" fmla="*/ 1297860 w 5794893"/>
              <a:gd name="connsiteY38" fmla="*/ 98373 h 6858000"/>
              <a:gd name="connsiteX39" fmla="*/ 1338417 w 5794893"/>
              <a:gd name="connsiteY39" fmla="*/ 49212 h 6858000"/>
              <a:gd name="connsiteX40" fmla="*/ 1292680 w 5794893"/>
              <a:gd name="connsiteY40" fmla="*/ 0 h 6858000"/>
              <a:gd name="connsiteX41" fmla="*/ 1321248 w 5794893"/>
              <a:gd name="connsiteY41" fmla="*/ 0 h 6858000"/>
              <a:gd name="connsiteX42" fmla="*/ 1426908 w 5794893"/>
              <a:gd name="connsiteY42" fmla="*/ 98373 h 6858000"/>
              <a:gd name="connsiteX43" fmla="*/ 1466237 w 5794893"/>
              <a:gd name="connsiteY43" fmla="*/ 43066 h 6858000"/>
              <a:gd name="connsiteX44" fmla="*/ 1419403 w 5794893"/>
              <a:gd name="connsiteY44" fmla="*/ 0 h 6858000"/>
              <a:gd name="connsiteX45" fmla="*/ 1441534 w 5794893"/>
              <a:gd name="connsiteY45" fmla="*/ 0 h 6858000"/>
              <a:gd name="connsiteX46" fmla="*/ 1439198 w 5794893"/>
              <a:gd name="connsiteY46" fmla="*/ 3737 h 6858000"/>
              <a:gd name="connsiteX47" fmla="*/ 1555957 w 5794893"/>
              <a:gd name="connsiteY47" fmla="*/ 97144 h 6858000"/>
              <a:gd name="connsiteX48" fmla="*/ 1592828 w 5794893"/>
              <a:gd name="connsiteY48" fmla="*/ 38150 h 6858000"/>
              <a:gd name="connsiteX49" fmla="*/ 1545140 w 5794893"/>
              <a:gd name="connsiteY49" fmla="*/ 0 h 6858000"/>
              <a:gd name="connsiteX50" fmla="*/ 1563241 w 5794893"/>
              <a:gd name="connsiteY50" fmla="*/ 0 h 6858000"/>
              <a:gd name="connsiteX51" fmla="*/ 1558415 w 5794893"/>
              <a:gd name="connsiteY51" fmla="*/ 8653 h 6858000"/>
              <a:gd name="connsiteX52" fmla="*/ 1685005 w 5794893"/>
              <a:gd name="connsiteY52" fmla="*/ 97144 h 6858000"/>
              <a:gd name="connsiteX53" fmla="*/ 1718189 w 5794893"/>
              <a:gd name="connsiteY53" fmla="*/ 36922 h 6858000"/>
              <a:gd name="connsiteX54" fmla="*/ 1815282 w 5794893"/>
              <a:gd name="connsiteY54" fmla="*/ 97144 h 6858000"/>
              <a:gd name="connsiteX55" fmla="*/ 1842321 w 5794893"/>
              <a:gd name="connsiteY55" fmla="*/ 41838 h 6858000"/>
              <a:gd name="connsiteX56" fmla="*/ 1945560 w 5794893"/>
              <a:gd name="connsiteY56" fmla="*/ 97144 h 6858000"/>
              <a:gd name="connsiteX57" fmla="*/ 1967682 w 5794893"/>
              <a:gd name="connsiteY57" fmla="*/ 45524 h 6858000"/>
              <a:gd name="connsiteX58" fmla="*/ 2075837 w 5794893"/>
              <a:gd name="connsiteY58" fmla="*/ 97144 h 6858000"/>
              <a:gd name="connsiteX59" fmla="*/ 2093044 w 5794893"/>
              <a:gd name="connsiteY59" fmla="*/ 50440 h 6858000"/>
              <a:gd name="connsiteX60" fmla="*/ 2204887 w 5794893"/>
              <a:gd name="connsiteY60" fmla="*/ 97144 h 6858000"/>
              <a:gd name="connsiteX61" fmla="*/ 2218405 w 5794893"/>
              <a:gd name="connsiteY61" fmla="*/ 54128 h 6858000"/>
              <a:gd name="connsiteX62" fmla="*/ 2336392 w 5794893"/>
              <a:gd name="connsiteY62" fmla="*/ 98373 h 6858000"/>
              <a:gd name="connsiteX63" fmla="*/ 2347454 w 5794893"/>
              <a:gd name="connsiteY63" fmla="*/ 60273 h 6858000"/>
              <a:gd name="connsiteX64" fmla="*/ 2466670 w 5794893"/>
              <a:gd name="connsiteY64" fmla="*/ 98373 h 6858000"/>
              <a:gd name="connsiteX65" fmla="*/ 2475274 w 5794893"/>
              <a:gd name="connsiteY65" fmla="*/ 63960 h 6858000"/>
              <a:gd name="connsiteX66" fmla="*/ 2595719 w 5794893"/>
              <a:gd name="connsiteY66" fmla="*/ 98373 h 6858000"/>
              <a:gd name="connsiteX67" fmla="*/ 2601864 w 5794893"/>
              <a:gd name="connsiteY67" fmla="*/ 68877 h 6858000"/>
              <a:gd name="connsiteX68" fmla="*/ 2724767 w 5794893"/>
              <a:gd name="connsiteY68" fmla="*/ 98373 h 6858000"/>
              <a:gd name="connsiteX69" fmla="*/ 2729683 w 5794893"/>
              <a:gd name="connsiteY69" fmla="*/ 72563 h 6858000"/>
              <a:gd name="connsiteX70" fmla="*/ 2855045 w 5794893"/>
              <a:gd name="connsiteY70" fmla="*/ 98373 h 6858000"/>
              <a:gd name="connsiteX71" fmla="*/ 2858732 w 5794893"/>
              <a:gd name="connsiteY71" fmla="*/ 76251 h 6858000"/>
              <a:gd name="connsiteX72" fmla="*/ 2985322 w 5794893"/>
              <a:gd name="connsiteY72" fmla="*/ 98373 h 6858000"/>
              <a:gd name="connsiteX73" fmla="*/ 2987780 w 5794893"/>
              <a:gd name="connsiteY73" fmla="*/ 79937 h 6858000"/>
              <a:gd name="connsiteX74" fmla="*/ 3114371 w 5794893"/>
              <a:gd name="connsiteY74" fmla="*/ 98373 h 6858000"/>
              <a:gd name="connsiteX75" fmla="*/ 3115600 w 5794893"/>
              <a:gd name="connsiteY75" fmla="*/ 82395 h 6858000"/>
              <a:gd name="connsiteX76" fmla="*/ 3243419 w 5794893"/>
              <a:gd name="connsiteY76" fmla="*/ 98373 h 6858000"/>
              <a:gd name="connsiteX77" fmla="*/ 3244649 w 5794893"/>
              <a:gd name="connsiteY77" fmla="*/ 86083 h 6858000"/>
              <a:gd name="connsiteX78" fmla="*/ 3373697 w 5794893"/>
              <a:gd name="connsiteY78" fmla="*/ 98373 h 6858000"/>
              <a:gd name="connsiteX79" fmla="*/ 3374927 w 5794893"/>
              <a:gd name="connsiteY79" fmla="*/ 88541 h 6858000"/>
              <a:gd name="connsiteX80" fmla="*/ 3503974 w 5794893"/>
              <a:gd name="connsiteY80" fmla="*/ 98373 h 6858000"/>
              <a:gd name="connsiteX81" fmla="*/ 3503974 w 5794893"/>
              <a:gd name="connsiteY81" fmla="*/ 90999 h 6858000"/>
              <a:gd name="connsiteX82" fmla="*/ 3633024 w 5794893"/>
              <a:gd name="connsiteY82" fmla="*/ 98373 h 6858000"/>
              <a:gd name="connsiteX83" fmla="*/ 3633024 w 5794893"/>
              <a:gd name="connsiteY83" fmla="*/ 93457 h 6858000"/>
              <a:gd name="connsiteX84" fmla="*/ 3641626 w 5794893"/>
              <a:gd name="connsiteY84" fmla="*/ 93457 h 6858000"/>
              <a:gd name="connsiteX85" fmla="*/ 3721514 w 5794893"/>
              <a:gd name="connsiteY85" fmla="*/ 95915 h 6858000"/>
              <a:gd name="connsiteX86" fmla="*/ 3721514 w 5794893"/>
              <a:gd name="connsiteY86" fmla="*/ 97144 h 6858000"/>
              <a:gd name="connsiteX87" fmla="*/ 5715007 w 5794893"/>
              <a:gd name="connsiteY87" fmla="*/ 142619 h 6858000"/>
              <a:gd name="connsiteX88" fmla="*/ 3721514 w 5794893"/>
              <a:gd name="connsiteY88" fmla="*/ 137702 h 6858000"/>
              <a:gd name="connsiteX89" fmla="*/ 3721514 w 5794893"/>
              <a:gd name="connsiteY89" fmla="*/ 140160 h 6858000"/>
              <a:gd name="connsiteX90" fmla="*/ 3603527 w 5794893"/>
              <a:gd name="connsiteY90" fmla="*/ 137702 h 6858000"/>
              <a:gd name="connsiteX91" fmla="*/ 3603527 w 5794893"/>
              <a:gd name="connsiteY91" fmla="*/ 141389 h 6858000"/>
              <a:gd name="connsiteX92" fmla="*/ 3485540 w 5794893"/>
              <a:gd name="connsiteY92" fmla="*/ 137702 h 6858000"/>
              <a:gd name="connsiteX93" fmla="*/ 3485540 w 5794893"/>
              <a:gd name="connsiteY93" fmla="*/ 143847 h 6858000"/>
              <a:gd name="connsiteX94" fmla="*/ 3367552 w 5794893"/>
              <a:gd name="connsiteY94" fmla="*/ 137702 h 6858000"/>
              <a:gd name="connsiteX95" fmla="*/ 3367552 w 5794893"/>
              <a:gd name="connsiteY95" fmla="*/ 146305 h 6858000"/>
              <a:gd name="connsiteX96" fmla="*/ 3249565 w 5794893"/>
              <a:gd name="connsiteY96" fmla="*/ 137702 h 6858000"/>
              <a:gd name="connsiteX97" fmla="*/ 3249565 w 5794893"/>
              <a:gd name="connsiteY97" fmla="*/ 148763 h 6858000"/>
              <a:gd name="connsiteX98" fmla="*/ 3131578 w 5794893"/>
              <a:gd name="connsiteY98" fmla="*/ 137702 h 6858000"/>
              <a:gd name="connsiteX99" fmla="*/ 3129120 w 5794893"/>
              <a:gd name="connsiteY99" fmla="*/ 152451 h 6858000"/>
              <a:gd name="connsiteX100" fmla="*/ 3012361 w 5794893"/>
              <a:gd name="connsiteY100" fmla="*/ 137702 h 6858000"/>
              <a:gd name="connsiteX101" fmla="*/ 3011133 w 5794893"/>
              <a:gd name="connsiteY101" fmla="*/ 154909 h 6858000"/>
              <a:gd name="connsiteX102" fmla="*/ 2894374 w 5794893"/>
              <a:gd name="connsiteY102" fmla="*/ 137702 h 6858000"/>
              <a:gd name="connsiteX103" fmla="*/ 2891916 w 5794893"/>
              <a:gd name="connsiteY103" fmla="*/ 158595 h 6858000"/>
              <a:gd name="connsiteX104" fmla="*/ 2776386 w 5794893"/>
              <a:gd name="connsiteY104" fmla="*/ 137702 h 6858000"/>
              <a:gd name="connsiteX105" fmla="*/ 2772700 w 5794893"/>
              <a:gd name="connsiteY105" fmla="*/ 162283 h 6858000"/>
              <a:gd name="connsiteX106" fmla="*/ 2658399 w 5794893"/>
              <a:gd name="connsiteY106" fmla="*/ 137702 h 6858000"/>
              <a:gd name="connsiteX107" fmla="*/ 2653483 w 5794893"/>
              <a:gd name="connsiteY107" fmla="*/ 164741 h 6858000"/>
              <a:gd name="connsiteX108" fmla="*/ 2540412 w 5794893"/>
              <a:gd name="connsiteY108" fmla="*/ 137702 h 6858000"/>
              <a:gd name="connsiteX109" fmla="*/ 2534268 w 5794893"/>
              <a:gd name="connsiteY109" fmla="*/ 169657 h 6858000"/>
              <a:gd name="connsiteX110" fmla="*/ 2422425 w 5794893"/>
              <a:gd name="connsiteY110" fmla="*/ 137702 h 6858000"/>
              <a:gd name="connsiteX111" fmla="*/ 2415051 w 5794893"/>
              <a:gd name="connsiteY111" fmla="*/ 173344 h 6858000"/>
              <a:gd name="connsiteX112" fmla="*/ 2304438 w 5794893"/>
              <a:gd name="connsiteY112" fmla="*/ 137702 h 6858000"/>
              <a:gd name="connsiteX113" fmla="*/ 2294605 w 5794893"/>
              <a:gd name="connsiteY113" fmla="*/ 177031 h 6858000"/>
              <a:gd name="connsiteX114" fmla="*/ 2186450 w 5794893"/>
              <a:gd name="connsiteY114" fmla="*/ 137702 h 6858000"/>
              <a:gd name="connsiteX115" fmla="*/ 2174160 w 5794893"/>
              <a:gd name="connsiteY115" fmla="*/ 181948 h 6858000"/>
              <a:gd name="connsiteX116" fmla="*/ 2068463 w 5794893"/>
              <a:gd name="connsiteY116" fmla="*/ 137702 h 6858000"/>
              <a:gd name="connsiteX117" fmla="*/ 2052486 w 5794893"/>
              <a:gd name="connsiteY117" fmla="*/ 186864 h 6858000"/>
              <a:gd name="connsiteX118" fmla="*/ 1950476 w 5794893"/>
              <a:gd name="connsiteY118" fmla="*/ 137702 h 6858000"/>
              <a:gd name="connsiteX119" fmla="*/ 1930811 w 5794893"/>
              <a:gd name="connsiteY119" fmla="*/ 190550 h 6858000"/>
              <a:gd name="connsiteX120" fmla="*/ 1832489 w 5794893"/>
              <a:gd name="connsiteY120" fmla="*/ 137702 h 6858000"/>
              <a:gd name="connsiteX121" fmla="*/ 1807908 w 5794893"/>
              <a:gd name="connsiteY121" fmla="*/ 195466 h 6858000"/>
              <a:gd name="connsiteX122" fmla="*/ 1714501 w 5794893"/>
              <a:gd name="connsiteY122" fmla="*/ 137702 h 6858000"/>
              <a:gd name="connsiteX123" fmla="*/ 1685005 w 5794893"/>
              <a:gd name="connsiteY123" fmla="*/ 200382 h 6858000"/>
              <a:gd name="connsiteX124" fmla="*/ 1596514 w 5794893"/>
              <a:gd name="connsiteY124" fmla="*/ 137702 h 6858000"/>
              <a:gd name="connsiteX125" fmla="*/ 1560873 w 5794893"/>
              <a:gd name="connsiteY125" fmla="*/ 201612 h 6858000"/>
              <a:gd name="connsiteX126" fmla="*/ 1685005 w 5794893"/>
              <a:gd name="connsiteY126" fmla="*/ 291331 h 6858000"/>
              <a:gd name="connsiteX127" fmla="*/ 1718189 w 5794893"/>
              <a:gd name="connsiteY127" fmla="*/ 231109 h 6858000"/>
              <a:gd name="connsiteX128" fmla="*/ 1815282 w 5794893"/>
              <a:gd name="connsiteY128" fmla="*/ 291331 h 6858000"/>
              <a:gd name="connsiteX129" fmla="*/ 1842321 w 5794893"/>
              <a:gd name="connsiteY129" fmla="*/ 236025 h 6858000"/>
              <a:gd name="connsiteX130" fmla="*/ 1945560 w 5794893"/>
              <a:gd name="connsiteY130" fmla="*/ 291331 h 6858000"/>
              <a:gd name="connsiteX131" fmla="*/ 1967682 w 5794893"/>
              <a:gd name="connsiteY131" fmla="*/ 239712 h 6858000"/>
              <a:gd name="connsiteX132" fmla="*/ 2075837 w 5794893"/>
              <a:gd name="connsiteY132" fmla="*/ 291331 h 6858000"/>
              <a:gd name="connsiteX133" fmla="*/ 2093044 w 5794893"/>
              <a:gd name="connsiteY133" fmla="*/ 244628 h 6858000"/>
              <a:gd name="connsiteX134" fmla="*/ 2204887 w 5794893"/>
              <a:gd name="connsiteY134" fmla="*/ 291331 h 6858000"/>
              <a:gd name="connsiteX135" fmla="*/ 2218405 w 5794893"/>
              <a:gd name="connsiteY135" fmla="*/ 248315 h 6858000"/>
              <a:gd name="connsiteX136" fmla="*/ 2333934 w 5794893"/>
              <a:gd name="connsiteY136" fmla="*/ 291331 h 6858000"/>
              <a:gd name="connsiteX137" fmla="*/ 2344996 w 5794893"/>
              <a:gd name="connsiteY137" fmla="*/ 253232 h 6858000"/>
              <a:gd name="connsiteX138" fmla="*/ 2464212 w 5794893"/>
              <a:gd name="connsiteY138" fmla="*/ 291331 h 6858000"/>
              <a:gd name="connsiteX139" fmla="*/ 2472816 w 5794893"/>
              <a:gd name="connsiteY139" fmla="*/ 256918 h 6858000"/>
              <a:gd name="connsiteX140" fmla="*/ 2593261 w 5794893"/>
              <a:gd name="connsiteY140" fmla="*/ 291331 h 6858000"/>
              <a:gd name="connsiteX141" fmla="*/ 2599406 w 5794893"/>
              <a:gd name="connsiteY141" fmla="*/ 261834 h 6858000"/>
              <a:gd name="connsiteX142" fmla="*/ 2722309 w 5794893"/>
              <a:gd name="connsiteY142" fmla="*/ 291331 h 6858000"/>
              <a:gd name="connsiteX143" fmla="*/ 2727225 w 5794893"/>
              <a:gd name="connsiteY143" fmla="*/ 265522 h 6858000"/>
              <a:gd name="connsiteX144" fmla="*/ 2852587 w 5794893"/>
              <a:gd name="connsiteY144" fmla="*/ 291331 h 6858000"/>
              <a:gd name="connsiteX145" fmla="*/ 2856274 w 5794893"/>
              <a:gd name="connsiteY145" fmla="*/ 269208 h 6858000"/>
              <a:gd name="connsiteX146" fmla="*/ 2982864 w 5794893"/>
              <a:gd name="connsiteY146" fmla="*/ 291331 h 6858000"/>
              <a:gd name="connsiteX147" fmla="*/ 2985322 w 5794893"/>
              <a:gd name="connsiteY147" fmla="*/ 272896 h 6858000"/>
              <a:gd name="connsiteX148" fmla="*/ 3111913 w 5794893"/>
              <a:gd name="connsiteY148" fmla="*/ 291331 h 6858000"/>
              <a:gd name="connsiteX149" fmla="*/ 3114371 w 5794893"/>
              <a:gd name="connsiteY149" fmla="*/ 275354 h 6858000"/>
              <a:gd name="connsiteX150" fmla="*/ 3240961 w 5794893"/>
              <a:gd name="connsiteY150" fmla="*/ 291331 h 6858000"/>
              <a:gd name="connsiteX151" fmla="*/ 3242191 w 5794893"/>
              <a:gd name="connsiteY151" fmla="*/ 279041 h 6858000"/>
              <a:gd name="connsiteX152" fmla="*/ 3371239 w 5794893"/>
              <a:gd name="connsiteY152" fmla="*/ 291331 h 6858000"/>
              <a:gd name="connsiteX153" fmla="*/ 3372468 w 5794893"/>
              <a:gd name="connsiteY153" fmla="*/ 281499 h 6858000"/>
              <a:gd name="connsiteX154" fmla="*/ 3501516 w 5794893"/>
              <a:gd name="connsiteY154" fmla="*/ 291331 h 6858000"/>
              <a:gd name="connsiteX155" fmla="*/ 3501516 w 5794893"/>
              <a:gd name="connsiteY155" fmla="*/ 283957 h 6858000"/>
              <a:gd name="connsiteX156" fmla="*/ 3630565 w 5794893"/>
              <a:gd name="connsiteY156" fmla="*/ 291331 h 6858000"/>
              <a:gd name="connsiteX157" fmla="*/ 3630565 w 5794893"/>
              <a:gd name="connsiteY157" fmla="*/ 286415 h 6858000"/>
              <a:gd name="connsiteX158" fmla="*/ 3639168 w 5794893"/>
              <a:gd name="connsiteY158" fmla="*/ 286415 h 6858000"/>
              <a:gd name="connsiteX159" fmla="*/ 3719056 w 5794893"/>
              <a:gd name="connsiteY159" fmla="*/ 288873 h 6858000"/>
              <a:gd name="connsiteX160" fmla="*/ 3719056 w 5794893"/>
              <a:gd name="connsiteY160" fmla="*/ 290103 h 6858000"/>
              <a:gd name="connsiteX161" fmla="*/ 5727297 w 5794893"/>
              <a:gd name="connsiteY161" fmla="*/ 331890 h 6858000"/>
              <a:gd name="connsiteX162" fmla="*/ 3719056 w 5794893"/>
              <a:gd name="connsiteY162" fmla="*/ 331890 h 6858000"/>
              <a:gd name="connsiteX163" fmla="*/ 3719056 w 5794893"/>
              <a:gd name="connsiteY163" fmla="*/ 334348 h 6858000"/>
              <a:gd name="connsiteX164" fmla="*/ 3601069 w 5794893"/>
              <a:gd name="connsiteY164" fmla="*/ 331890 h 6858000"/>
              <a:gd name="connsiteX165" fmla="*/ 3601069 w 5794893"/>
              <a:gd name="connsiteY165" fmla="*/ 336806 h 6858000"/>
              <a:gd name="connsiteX166" fmla="*/ 3485540 w 5794893"/>
              <a:gd name="connsiteY166" fmla="*/ 333118 h 6858000"/>
              <a:gd name="connsiteX167" fmla="*/ 3485540 w 5794893"/>
              <a:gd name="connsiteY167" fmla="*/ 339264 h 6858000"/>
              <a:gd name="connsiteX168" fmla="*/ 3367552 w 5794893"/>
              <a:gd name="connsiteY168" fmla="*/ 333118 h 6858000"/>
              <a:gd name="connsiteX169" fmla="*/ 3367552 w 5794893"/>
              <a:gd name="connsiteY169" fmla="*/ 341722 h 6858000"/>
              <a:gd name="connsiteX170" fmla="*/ 3249565 w 5794893"/>
              <a:gd name="connsiteY170" fmla="*/ 333118 h 6858000"/>
              <a:gd name="connsiteX171" fmla="*/ 3249565 w 5794893"/>
              <a:gd name="connsiteY171" fmla="*/ 344180 h 6858000"/>
              <a:gd name="connsiteX172" fmla="*/ 3131578 w 5794893"/>
              <a:gd name="connsiteY172" fmla="*/ 333118 h 6858000"/>
              <a:gd name="connsiteX173" fmla="*/ 3130348 w 5794893"/>
              <a:gd name="connsiteY173" fmla="*/ 347866 h 6858000"/>
              <a:gd name="connsiteX174" fmla="*/ 3012361 w 5794893"/>
              <a:gd name="connsiteY174" fmla="*/ 333118 h 6858000"/>
              <a:gd name="connsiteX175" fmla="*/ 3011133 w 5794893"/>
              <a:gd name="connsiteY175" fmla="*/ 350325 h 6858000"/>
              <a:gd name="connsiteX176" fmla="*/ 2894374 w 5794893"/>
              <a:gd name="connsiteY176" fmla="*/ 333118 h 6858000"/>
              <a:gd name="connsiteX177" fmla="*/ 2891916 w 5794893"/>
              <a:gd name="connsiteY177" fmla="*/ 354012 h 6858000"/>
              <a:gd name="connsiteX178" fmla="*/ 2776386 w 5794893"/>
              <a:gd name="connsiteY178" fmla="*/ 333118 h 6858000"/>
              <a:gd name="connsiteX179" fmla="*/ 2772700 w 5794893"/>
              <a:gd name="connsiteY179" fmla="*/ 357699 h 6858000"/>
              <a:gd name="connsiteX180" fmla="*/ 2658399 w 5794893"/>
              <a:gd name="connsiteY180" fmla="*/ 333118 h 6858000"/>
              <a:gd name="connsiteX181" fmla="*/ 2653483 w 5794893"/>
              <a:gd name="connsiteY181" fmla="*/ 360157 h 6858000"/>
              <a:gd name="connsiteX182" fmla="*/ 2540412 w 5794893"/>
              <a:gd name="connsiteY182" fmla="*/ 333118 h 6858000"/>
              <a:gd name="connsiteX183" fmla="*/ 2534268 w 5794893"/>
              <a:gd name="connsiteY183" fmla="*/ 365073 h 6858000"/>
              <a:gd name="connsiteX184" fmla="*/ 2422425 w 5794893"/>
              <a:gd name="connsiteY184" fmla="*/ 333118 h 6858000"/>
              <a:gd name="connsiteX185" fmla="*/ 2415051 w 5794893"/>
              <a:gd name="connsiteY185" fmla="*/ 368761 h 6858000"/>
              <a:gd name="connsiteX186" fmla="*/ 2304438 w 5794893"/>
              <a:gd name="connsiteY186" fmla="*/ 333118 h 6858000"/>
              <a:gd name="connsiteX187" fmla="*/ 2294605 w 5794893"/>
              <a:gd name="connsiteY187" fmla="*/ 372447 h 6858000"/>
              <a:gd name="connsiteX188" fmla="*/ 2186450 w 5794893"/>
              <a:gd name="connsiteY188" fmla="*/ 333118 h 6858000"/>
              <a:gd name="connsiteX189" fmla="*/ 2174160 w 5794893"/>
              <a:gd name="connsiteY189" fmla="*/ 377363 h 6858000"/>
              <a:gd name="connsiteX190" fmla="*/ 2068463 w 5794893"/>
              <a:gd name="connsiteY190" fmla="*/ 333118 h 6858000"/>
              <a:gd name="connsiteX191" fmla="*/ 2052486 w 5794893"/>
              <a:gd name="connsiteY191" fmla="*/ 382279 h 6858000"/>
              <a:gd name="connsiteX192" fmla="*/ 1950476 w 5794893"/>
              <a:gd name="connsiteY192" fmla="*/ 333118 h 6858000"/>
              <a:gd name="connsiteX193" fmla="*/ 1930811 w 5794893"/>
              <a:gd name="connsiteY193" fmla="*/ 387196 h 6858000"/>
              <a:gd name="connsiteX194" fmla="*/ 1832489 w 5794893"/>
              <a:gd name="connsiteY194" fmla="*/ 334348 h 6858000"/>
              <a:gd name="connsiteX195" fmla="*/ 1807908 w 5794893"/>
              <a:gd name="connsiteY195" fmla="*/ 392112 h 6858000"/>
              <a:gd name="connsiteX196" fmla="*/ 1714501 w 5794893"/>
              <a:gd name="connsiteY196" fmla="*/ 334348 h 6858000"/>
              <a:gd name="connsiteX197" fmla="*/ 1685005 w 5794893"/>
              <a:gd name="connsiteY197" fmla="*/ 395799 h 6858000"/>
              <a:gd name="connsiteX198" fmla="*/ 1596514 w 5794893"/>
              <a:gd name="connsiteY198" fmla="*/ 333118 h 6858000"/>
              <a:gd name="connsiteX199" fmla="*/ 1560873 w 5794893"/>
              <a:gd name="connsiteY199" fmla="*/ 397028 h 6858000"/>
              <a:gd name="connsiteX200" fmla="*/ 1685005 w 5794893"/>
              <a:gd name="connsiteY200" fmla="*/ 485518 h 6858000"/>
              <a:gd name="connsiteX201" fmla="*/ 1718189 w 5794893"/>
              <a:gd name="connsiteY201" fmla="*/ 425296 h 6858000"/>
              <a:gd name="connsiteX202" fmla="*/ 1815282 w 5794893"/>
              <a:gd name="connsiteY202" fmla="*/ 485518 h 6858000"/>
              <a:gd name="connsiteX203" fmla="*/ 1842321 w 5794893"/>
              <a:gd name="connsiteY203" fmla="*/ 430212 h 6858000"/>
              <a:gd name="connsiteX204" fmla="*/ 1945560 w 5794893"/>
              <a:gd name="connsiteY204" fmla="*/ 485518 h 6858000"/>
              <a:gd name="connsiteX205" fmla="*/ 1967682 w 5794893"/>
              <a:gd name="connsiteY205" fmla="*/ 433899 h 6858000"/>
              <a:gd name="connsiteX206" fmla="*/ 2075837 w 5794893"/>
              <a:gd name="connsiteY206" fmla="*/ 485518 h 6858000"/>
              <a:gd name="connsiteX207" fmla="*/ 2093044 w 5794893"/>
              <a:gd name="connsiteY207" fmla="*/ 438815 h 6858000"/>
              <a:gd name="connsiteX208" fmla="*/ 2204887 w 5794893"/>
              <a:gd name="connsiteY208" fmla="*/ 485518 h 6858000"/>
              <a:gd name="connsiteX209" fmla="*/ 2218405 w 5794893"/>
              <a:gd name="connsiteY209" fmla="*/ 442503 h 6858000"/>
              <a:gd name="connsiteX210" fmla="*/ 2333934 w 5794893"/>
              <a:gd name="connsiteY210" fmla="*/ 485518 h 6858000"/>
              <a:gd name="connsiteX211" fmla="*/ 2344996 w 5794893"/>
              <a:gd name="connsiteY211" fmla="*/ 447419 h 6858000"/>
              <a:gd name="connsiteX212" fmla="*/ 2464212 w 5794893"/>
              <a:gd name="connsiteY212" fmla="*/ 485518 h 6858000"/>
              <a:gd name="connsiteX213" fmla="*/ 2472816 w 5794893"/>
              <a:gd name="connsiteY213" fmla="*/ 451105 h 6858000"/>
              <a:gd name="connsiteX214" fmla="*/ 2593261 w 5794893"/>
              <a:gd name="connsiteY214" fmla="*/ 485518 h 6858000"/>
              <a:gd name="connsiteX215" fmla="*/ 2599406 w 5794893"/>
              <a:gd name="connsiteY215" fmla="*/ 456021 h 6858000"/>
              <a:gd name="connsiteX216" fmla="*/ 2722309 w 5794893"/>
              <a:gd name="connsiteY216" fmla="*/ 485518 h 6858000"/>
              <a:gd name="connsiteX217" fmla="*/ 2728455 w 5794893"/>
              <a:gd name="connsiteY217" fmla="*/ 459709 h 6858000"/>
              <a:gd name="connsiteX218" fmla="*/ 2855045 w 5794893"/>
              <a:gd name="connsiteY218" fmla="*/ 485518 h 6858000"/>
              <a:gd name="connsiteX219" fmla="*/ 2858732 w 5794893"/>
              <a:gd name="connsiteY219" fmla="*/ 463396 h 6858000"/>
              <a:gd name="connsiteX220" fmla="*/ 2985322 w 5794893"/>
              <a:gd name="connsiteY220" fmla="*/ 485518 h 6858000"/>
              <a:gd name="connsiteX221" fmla="*/ 2987780 w 5794893"/>
              <a:gd name="connsiteY221" fmla="*/ 467083 h 6858000"/>
              <a:gd name="connsiteX222" fmla="*/ 3114371 w 5794893"/>
              <a:gd name="connsiteY222" fmla="*/ 485518 h 6858000"/>
              <a:gd name="connsiteX223" fmla="*/ 3115600 w 5794893"/>
              <a:gd name="connsiteY223" fmla="*/ 469541 h 6858000"/>
              <a:gd name="connsiteX224" fmla="*/ 3243419 w 5794893"/>
              <a:gd name="connsiteY224" fmla="*/ 485518 h 6858000"/>
              <a:gd name="connsiteX225" fmla="*/ 3244649 w 5794893"/>
              <a:gd name="connsiteY225" fmla="*/ 473228 h 6858000"/>
              <a:gd name="connsiteX226" fmla="*/ 3373697 w 5794893"/>
              <a:gd name="connsiteY226" fmla="*/ 485518 h 6858000"/>
              <a:gd name="connsiteX227" fmla="*/ 3374927 w 5794893"/>
              <a:gd name="connsiteY227" fmla="*/ 475686 h 6858000"/>
              <a:gd name="connsiteX228" fmla="*/ 3503974 w 5794893"/>
              <a:gd name="connsiteY228" fmla="*/ 485518 h 6858000"/>
              <a:gd name="connsiteX229" fmla="*/ 3503974 w 5794893"/>
              <a:gd name="connsiteY229" fmla="*/ 478144 h 6858000"/>
              <a:gd name="connsiteX230" fmla="*/ 3633024 w 5794893"/>
              <a:gd name="connsiteY230" fmla="*/ 485518 h 6858000"/>
              <a:gd name="connsiteX231" fmla="*/ 3633024 w 5794893"/>
              <a:gd name="connsiteY231" fmla="*/ 481832 h 6858000"/>
              <a:gd name="connsiteX232" fmla="*/ 3641626 w 5794893"/>
              <a:gd name="connsiteY232" fmla="*/ 481832 h 6858000"/>
              <a:gd name="connsiteX233" fmla="*/ 3721514 w 5794893"/>
              <a:gd name="connsiteY233" fmla="*/ 484290 h 6858000"/>
              <a:gd name="connsiteX234" fmla="*/ 3721514 w 5794893"/>
              <a:gd name="connsiteY234" fmla="*/ 486748 h 6858000"/>
              <a:gd name="connsiteX235" fmla="*/ 5726067 w 5794893"/>
              <a:gd name="connsiteY235" fmla="*/ 528535 h 6858000"/>
              <a:gd name="connsiteX236" fmla="*/ 3720284 w 5794893"/>
              <a:gd name="connsiteY236" fmla="*/ 528535 h 6858000"/>
              <a:gd name="connsiteX237" fmla="*/ 3721514 w 5794893"/>
              <a:gd name="connsiteY237" fmla="*/ 529763 h 6858000"/>
              <a:gd name="connsiteX238" fmla="*/ 3603527 w 5794893"/>
              <a:gd name="connsiteY238" fmla="*/ 527305 h 6858000"/>
              <a:gd name="connsiteX239" fmla="*/ 3603527 w 5794893"/>
              <a:gd name="connsiteY239" fmla="*/ 530993 h 6858000"/>
              <a:gd name="connsiteX240" fmla="*/ 3485540 w 5794893"/>
              <a:gd name="connsiteY240" fmla="*/ 527305 h 6858000"/>
              <a:gd name="connsiteX241" fmla="*/ 3485540 w 5794893"/>
              <a:gd name="connsiteY241" fmla="*/ 533451 h 6858000"/>
              <a:gd name="connsiteX242" fmla="*/ 3367552 w 5794893"/>
              <a:gd name="connsiteY242" fmla="*/ 527305 h 6858000"/>
              <a:gd name="connsiteX243" fmla="*/ 3367552 w 5794893"/>
              <a:gd name="connsiteY243" fmla="*/ 535909 h 6858000"/>
              <a:gd name="connsiteX244" fmla="*/ 3249565 w 5794893"/>
              <a:gd name="connsiteY244" fmla="*/ 527305 h 6858000"/>
              <a:gd name="connsiteX245" fmla="*/ 3249565 w 5794893"/>
              <a:gd name="connsiteY245" fmla="*/ 538367 h 6858000"/>
              <a:gd name="connsiteX246" fmla="*/ 3131578 w 5794893"/>
              <a:gd name="connsiteY246" fmla="*/ 527305 h 6858000"/>
              <a:gd name="connsiteX247" fmla="*/ 3130348 w 5794893"/>
              <a:gd name="connsiteY247" fmla="*/ 542054 h 6858000"/>
              <a:gd name="connsiteX248" fmla="*/ 3012361 w 5794893"/>
              <a:gd name="connsiteY248" fmla="*/ 527305 h 6858000"/>
              <a:gd name="connsiteX249" fmla="*/ 3011133 w 5794893"/>
              <a:gd name="connsiteY249" fmla="*/ 544512 h 6858000"/>
              <a:gd name="connsiteX250" fmla="*/ 2894374 w 5794893"/>
              <a:gd name="connsiteY250" fmla="*/ 527305 h 6858000"/>
              <a:gd name="connsiteX251" fmla="*/ 2891916 w 5794893"/>
              <a:gd name="connsiteY251" fmla="*/ 548200 h 6858000"/>
              <a:gd name="connsiteX252" fmla="*/ 2776386 w 5794893"/>
              <a:gd name="connsiteY252" fmla="*/ 527305 h 6858000"/>
              <a:gd name="connsiteX253" fmla="*/ 2772700 w 5794893"/>
              <a:gd name="connsiteY253" fmla="*/ 550658 h 6858000"/>
              <a:gd name="connsiteX254" fmla="*/ 2658399 w 5794893"/>
              <a:gd name="connsiteY254" fmla="*/ 527305 h 6858000"/>
              <a:gd name="connsiteX255" fmla="*/ 2653483 w 5794893"/>
              <a:gd name="connsiteY255" fmla="*/ 554344 h 6858000"/>
              <a:gd name="connsiteX256" fmla="*/ 2540412 w 5794893"/>
              <a:gd name="connsiteY256" fmla="*/ 527305 h 6858000"/>
              <a:gd name="connsiteX257" fmla="*/ 2534268 w 5794893"/>
              <a:gd name="connsiteY257" fmla="*/ 558032 h 6858000"/>
              <a:gd name="connsiteX258" fmla="*/ 2422425 w 5794893"/>
              <a:gd name="connsiteY258" fmla="*/ 527305 h 6858000"/>
              <a:gd name="connsiteX259" fmla="*/ 2415051 w 5794893"/>
              <a:gd name="connsiteY259" fmla="*/ 562948 h 6858000"/>
              <a:gd name="connsiteX260" fmla="*/ 2304438 w 5794893"/>
              <a:gd name="connsiteY260" fmla="*/ 527305 h 6858000"/>
              <a:gd name="connsiteX261" fmla="*/ 2294605 w 5794893"/>
              <a:gd name="connsiteY261" fmla="*/ 566634 h 6858000"/>
              <a:gd name="connsiteX262" fmla="*/ 2186450 w 5794893"/>
              <a:gd name="connsiteY262" fmla="*/ 527305 h 6858000"/>
              <a:gd name="connsiteX263" fmla="*/ 2174160 w 5794893"/>
              <a:gd name="connsiteY263" fmla="*/ 571551 h 6858000"/>
              <a:gd name="connsiteX264" fmla="*/ 2068463 w 5794893"/>
              <a:gd name="connsiteY264" fmla="*/ 527305 h 6858000"/>
              <a:gd name="connsiteX265" fmla="*/ 2052486 w 5794893"/>
              <a:gd name="connsiteY265" fmla="*/ 576467 h 6858000"/>
              <a:gd name="connsiteX266" fmla="*/ 1950476 w 5794893"/>
              <a:gd name="connsiteY266" fmla="*/ 527305 h 6858000"/>
              <a:gd name="connsiteX267" fmla="*/ 1930811 w 5794893"/>
              <a:gd name="connsiteY267" fmla="*/ 580155 h 6858000"/>
              <a:gd name="connsiteX268" fmla="*/ 1832489 w 5794893"/>
              <a:gd name="connsiteY268" fmla="*/ 527305 h 6858000"/>
              <a:gd name="connsiteX269" fmla="*/ 1807908 w 5794893"/>
              <a:gd name="connsiteY269" fmla="*/ 585071 h 6858000"/>
              <a:gd name="connsiteX270" fmla="*/ 1714501 w 5794893"/>
              <a:gd name="connsiteY270" fmla="*/ 527305 h 6858000"/>
              <a:gd name="connsiteX271" fmla="*/ 1685005 w 5794893"/>
              <a:gd name="connsiteY271" fmla="*/ 589987 h 6858000"/>
              <a:gd name="connsiteX272" fmla="*/ 1596514 w 5794893"/>
              <a:gd name="connsiteY272" fmla="*/ 527305 h 6858000"/>
              <a:gd name="connsiteX273" fmla="*/ 1560873 w 5794893"/>
              <a:gd name="connsiteY273" fmla="*/ 591215 h 6858000"/>
              <a:gd name="connsiteX274" fmla="*/ 1685005 w 5794893"/>
              <a:gd name="connsiteY274" fmla="*/ 682164 h 6858000"/>
              <a:gd name="connsiteX275" fmla="*/ 1718189 w 5794893"/>
              <a:gd name="connsiteY275" fmla="*/ 621942 h 6858000"/>
              <a:gd name="connsiteX276" fmla="*/ 1815282 w 5794893"/>
              <a:gd name="connsiteY276" fmla="*/ 682164 h 6858000"/>
              <a:gd name="connsiteX277" fmla="*/ 1842321 w 5794893"/>
              <a:gd name="connsiteY277" fmla="*/ 626858 h 6858000"/>
              <a:gd name="connsiteX278" fmla="*/ 1945560 w 5794893"/>
              <a:gd name="connsiteY278" fmla="*/ 682164 h 6858000"/>
              <a:gd name="connsiteX279" fmla="*/ 1967682 w 5794893"/>
              <a:gd name="connsiteY279" fmla="*/ 630544 h 6858000"/>
              <a:gd name="connsiteX280" fmla="*/ 2075837 w 5794893"/>
              <a:gd name="connsiteY280" fmla="*/ 682164 h 6858000"/>
              <a:gd name="connsiteX281" fmla="*/ 2093044 w 5794893"/>
              <a:gd name="connsiteY281" fmla="*/ 635460 h 6858000"/>
              <a:gd name="connsiteX282" fmla="*/ 2204887 w 5794893"/>
              <a:gd name="connsiteY282" fmla="*/ 682164 h 6858000"/>
              <a:gd name="connsiteX283" fmla="*/ 2218405 w 5794893"/>
              <a:gd name="connsiteY283" fmla="*/ 639148 h 6858000"/>
              <a:gd name="connsiteX284" fmla="*/ 2333934 w 5794893"/>
              <a:gd name="connsiteY284" fmla="*/ 682164 h 6858000"/>
              <a:gd name="connsiteX285" fmla="*/ 2344996 w 5794893"/>
              <a:gd name="connsiteY285" fmla="*/ 644064 h 6858000"/>
              <a:gd name="connsiteX286" fmla="*/ 2464212 w 5794893"/>
              <a:gd name="connsiteY286" fmla="*/ 682164 h 6858000"/>
              <a:gd name="connsiteX287" fmla="*/ 2472816 w 5794893"/>
              <a:gd name="connsiteY287" fmla="*/ 647751 h 6858000"/>
              <a:gd name="connsiteX288" fmla="*/ 2593261 w 5794893"/>
              <a:gd name="connsiteY288" fmla="*/ 682164 h 6858000"/>
              <a:gd name="connsiteX289" fmla="*/ 2599406 w 5794893"/>
              <a:gd name="connsiteY289" fmla="*/ 652667 h 6858000"/>
              <a:gd name="connsiteX290" fmla="*/ 2722309 w 5794893"/>
              <a:gd name="connsiteY290" fmla="*/ 682164 h 6858000"/>
              <a:gd name="connsiteX291" fmla="*/ 2727225 w 5794893"/>
              <a:gd name="connsiteY291" fmla="*/ 656355 h 6858000"/>
              <a:gd name="connsiteX292" fmla="*/ 2852587 w 5794893"/>
              <a:gd name="connsiteY292" fmla="*/ 682164 h 6858000"/>
              <a:gd name="connsiteX293" fmla="*/ 2856274 w 5794893"/>
              <a:gd name="connsiteY293" fmla="*/ 660041 h 6858000"/>
              <a:gd name="connsiteX294" fmla="*/ 2982864 w 5794893"/>
              <a:gd name="connsiteY294" fmla="*/ 682164 h 6858000"/>
              <a:gd name="connsiteX295" fmla="*/ 2985322 w 5794893"/>
              <a:gd name="connsiteY295" fmla="*/ 663729 h 6858000"/>
              <a:gd name="connsiteX296" fmla="*/ 3111913 w 5794893"/>
              <a:gd name="connsiteY296" fmla="*/ 682164 h 6858000"/>
              <a:gd name="connsiteX297" fmla="*/ 3113142 w 5794893"/>
              <a:gd name="connsiteY297" fmla="*/ 666187 h 6858000"/>
              <a:gd name="connsiteX298" fmla="*/ 3240961 w 5794893"/>
              <a:gd name="connsiteY298" fmla="*/ 682164 h 6858000"/>
              <a:gd name="connsiteX299" fmla="*/ 3242191 w 5794893"/>
              <a:gd name="connsiteY299" fmla="*/ 669873 h 6858000"/>
              <a:gd name="connsiteX300" fmla="*/ 3371239 w 5794893"/>
              <a:gd name="connsiteY300" fmla="*/ 682164 h 6858000"/>
              <a:gd name="connsiteX301" fmla="*/ 3372468 w 5794893"/>
              <a:gd name="connsiteY301" fmla="*/ 672331 h 6858000"/>
              <a:gd name="connsiteX302" fmla="*/ 3501516 w 5794893"/>
              <a:gd name="connsiteY302" fmla="*/ 682164 h 6858000"/>
              <a:gd name="connsiteX303" fmla="*/ 3501516 w 5794893"/>
              <a:gd name="connsiteY303" fmla="*/ 674789 h 6858000"/>
              <a:gd name="connsiteX304" fmla="*/ 3630565 w 5794893"/>
              <a:gd name="connsiteY304" fmla="*/ 682164 h 6858000"/>
              <a:gd name="connsiteX305" fmla="*/ 3630565 w 5794893"/>
              <a:gd name="connsiteY305" fmla="*/ 677248 h 6858000"/>
              <a:gd name="connsiteX306" fmla="*/ 3639168 w 5794893"/>
              <a:gd name="connsiteY306" fmla="*/ 677248 h 6858000"/>
              <a:gd name="connsiteX307" fmla="*/ 3719056 w 5794893"/>
              <a:gd name="connsiteY307" fmla="*/ 679706 h 6858000"/>
              <a:gd name="connsiteX308" fmla="*/ 3719056 w 5794893"/>
              <a:gd name="connsiteY308" fmla="*/ 680935 h 6858000"/>
              <a:gd name="connsiteX309" fmla="*/ 5710091 w 5794893"/>
              <a:gd name="connsiteY309" fmla="*/ 722722 h 6858000"/>
              <a:gd name="connsiteX310" fmla="*/ 3719056 w 5794893"/>
              <a:gd name="connsiteY310" fmla="*/ 722722 h 6858000"/>
              <a:gd name="connsiteX311" fmla="*/ 3720284 w 5794893"/>
              <a:gd name="connsiteY311" fmla="*/ 725180 h 6858000"/>
              <a:gd name="connsiteX312" fmla="*/ 3602297 w 5794893"/>
              <a:gd name="connsiteY312" fmla="*/ 722722 h 6858000"/>
              <a:gd name="connsiteX313" fmla="*/ 3602297 w 5794893"/>
              <a:gd name="connsiteY313" fmla="*/ 726409 h 6858000"/>
              <a:gd name="connsiteX314" fmla="*/ 3484310 w 5794893"/>
              <a:gd name="connsiteY314" fmla="*/ 722722 h 6858000"/>
              <a:gd name="connsiteX315" fmla="*/ 3484310 w 5794893"/>
              <a:gd name="connsiteY315" fmla="*/ 728867 h 6858000"/>
              <a:gd name="connsiteX316" fmla="*/ 3366323 w 5794893"/>
              <a:gd name="connsiteY316" fmla="*/ 722722 h 6858000"/>
              <a:gd name="connsiteX317" fmla="*/ 3366323 w 5794893"/>
              <a:gd name="connsiteY317" fmla="*/ 731325 h 6858000"/>
              <a:gd name="connsiteX318" fmla="*/ 3248335 w 5794893"/>
              <a:gd name="connsiteY318" fmla="*/ 722722 h 6858000"/>
              <a:gd name="connsiteX319" fmla="*/ 3248335 w 5794893"/>
              <a:gd name="connsiteY319" fmla="*/ 733783 h 6858000"/>
              <a:gd name="connsiteX320" fmla="*/ 3130348 w 5794893"/>
              <a:gd name="connsiteY320" fmla="*/ 722722 h 6858000"/>
              <a:gd name="connsiteX321" fmla="*/ 3129120 w 5794893"/>
              <a:gd name="connsiteY321" fmla="*/ 737471 h 6858000"/>
              <a:gd name="connsiteX322" fmla="*/ 3011133 w 5794893"/>
              <a:gd name="connsiteY322" fmla="*/ 722722 h 6858000"/>
              <a:gd name="connsiteX323" fmla="*/ 3009903 w 5794893"/>
              <a:gd name="connsiteY323" fmla="*/ 739929 h 6858000"/>
              <a:gd name="connsiteX324" fmla="*/ 2893145 w 5794893"/>
              <a:gd name="connsiteY324" fmla="*/ 722722 h 6858000"/>
              <a:gd name="connsiteX325" fmla="*/ 2890687 w 5794893"/>
              <a:gd name="connsiteY325" fmla="*/ 743615 h 6858000"/>
              <a:gd name="connsiteX326" fmla="*/ 2775158 w 5794893"/>
              <a:gd name="connsiteY326" fmla="*/ 722722 h 6858000"/>
              <a:gd name="connsiteX327" fmla="*/ 2771470 w 5794893"/>
              <a:gd name="connsiteY327" fmla="*/ 746073 h 6858000"/>
              <a:gd name="connsiteX328" fmla="*/ 2657171 w 5794893"/>
              <a:gd name="connsiteY328" fmla="*/ 722722 h 6858000"/>
              <a:gd name="connsiteX329" fmla="*/ 2652255 w 5794893"/>
              <a:gd name="connsiteY329" fmla="*/ 749761 h 6858000"/>
              <a:gd name="connsiteX330" fmla="*/ 2539184 w 5794893"/>
              <a:gd name="connsiteY330" fmla="*/ 722722 h 6858000"/>
              <a:gd name="connsiteX331" fmla="*/ 2533038 w 5794893"/>
              <a:gd name="connsiteY331" fmla="*/ 753448 h 6858000"/>
              <a:gd name="connsiteX332" fmla="*/ 2421196 w 5794893"/>
              <a:gd name="connsiteY332" fmla="*/ 721493 h 6858000"/>
              <a:gd name="connsiteX333" fmla="*/ 2413822 w 5794893"/>
              <a:gd name="connsiteY333" fmla="*/ 757135 h 6858000"/>
              <a:gd name="connsiteX334" fmla="*/ 2303209 w 5794893"/>
              <a:gd name="connsiteY334" fmla="*/ 721493 h 6858000"/>
              <a:gd name="connsiteX335" fmla="*/ 2293377 w 5794893"/>
              <a:gd name="connsiteY335" fmla="*/ 760822 h 6858000"/>
              <a:gd name="connsiteX336" fmla="*/ 2185222 w 5794893"/>
              <a:gd name="connsiteY336" fmla="*/ 721493 h 6858000"/>
              <a:gd name="connsiteX337" fmla="*/ 2172932 w 5794893"/>
              <a:gd name="connsiteY337" fmla="*/ 765738 h 6858000"/>
              <a:gd name="connsiteX338" fmla="*/ 2067235 w 5794893"/>
              <a:gd name="connsiteY338" fmla="*/ 721493 h 6858000"/>
              <a:gd name="connsiteX339" fmla="*/ 2051257 w 5794893"/>
              <a:gd name="connsiteY339" fmla="*/ 770654 h 6858000"/>
              <a:gd name="connsiteX340" fmla="*/ 1949247 w 5794893"/>
              <a:gd name="connsiteY340" fmla="*/ 721493 h 6858000"/>
              <a:gd name="connsiteX341" fmla="*/ 1929583 w 5794893"/>
              <a:gd name="connsiteY341" fmla="*/ 774342 h 6858000"/>
              <a:gd name="connsiteX342" fmla="*/ 1831260 w 5794893"/>
              <a:gd name="connsiteY342" fmla="*/ 721493 h 6858000"/>
              <a:gd name="connsiteX343" fmla="*/ 1806680 w 5794893"/>
              <a:gd name="connsiteY343" fmla="*/ 779258 h 6858000"/>
              <a:gd name="connsiteX344" fmla="*/ 1714501 w 5794893"/>
              <a:gd name="connsiteY344" fmla="*/ 721493 h 6858000"/>
              <a:gd name="connsiteX345" fmla="*/ 1685005 w 5794893"/>
              <a:gd name="connsiteY345" fmla="*/ 782944 h 6858000"/>
              <a:gd name="connsiteX346" fmla="*/ 1596514 w 5794893"/>
              <a:gd name="connsiteY346" fmla="*/ 721493 h 6858000"/>
              <a:gd name="connsiteX347" fmla="*/ 1560873 w 5794893"/>
              <a:gd name="connsiteY347" fmla="*/ 785402 h 6858000"/>
              <a:gd name="connsiteX348" fmla="*/ 1683776 w 5794893"/>
              <a:gd name="connsiteY348" fmla="*/ 875123 h 6858000"/>
              <a:gd name="connsiteX349" fmla="*/ 1716959 w 5794893"/>
              <a:gd name="connsiteY349" fmla="*/ 814899 h 6858000"/>
              <a:gd name="connsiteX350" fmla="*/ 1814054 w 5794893"/>
              <a:gd name="connsiteY350" fmla="*/ 875123 h 6858000"/>
              <a:gd name="connsiteX351" fmla="*/ 1841092 w 5794893"/>
              <a:gd name="connsiteY351" fmla="*/ 819815 h 6858000"/>
              <a:gd name="connsiteX352" fmla="*/ 1944331 w 5794893"/>
              <a:gd name="connsiteY352" fmla="*/ 875123 h 6858000"/>
              <a:gd name="connsiteX353" fmla="*/ 1966454 w 5794893"/>
              <a:gd name="connsiteY353" fmla="*/ 823503 h 6858000"/>
              <a:gd name="connsiteX354" fmla="*/ 2074609 w 5794893"/>
              <a:gd name="connsiteY354" fmla="*/ 875123 h 6858000"/>
              <a:gd name="connsiteX355" fmla="*/ 2091815 w 5794893"/>
              <a:gd name="connsiteY355" fmla="*/ 828419 h 6858000"/>
              <a:gd name="connsiteX356" fmla="*/ 2203657 w 5794893"/>
              <a:gd name="connsiteY356" fmla="*/ 875123 h 6858000"/>
              <a:gd name="connsiteX357" fmla="*/ 2217177 w 5794893"/>
              <a:gd name="connsiteY357" fmla="*/ 832106 h 6858000"/>
              <a:gd name="connsiteX358" fmla="*/ 2332706 w 5794893"/>
              <a:gd name="connsiteY358" fmla="*/ 875123 h 6858000"/>
              <a:gd name="connsiteX359" fmla="*/ 2343767 w 5794893"/>
              <a:gd name="connsiteY359" fmla="*/ 837022 h 6858000"/>
              <a:gd name="connsiteX360" fmla="*/ 2462984 w 5794893"/>
              <a:gd name="connsiteY360" fmla="*/ 875123 h 6858000"/>
              <a:gd name="connsiteX361" fmla="*/ 2471586 w 5794893"/>
              <a:gd name="connsiteY361" fmla="*/ 840710 h 6858000"/>
              <a:gd name="connsiteX362" fmla="*/ 2592031 w 5794893"/>
              <a:gd name="connsiteY362" fmla="*/ 875123 h 6858000"/>
              <a:gd name="connsiteX363" fmla="*/ 2598177 w 5794893"/>
              <a:gd name="connsiteY363" fmla="*/ 845626 h 6858000"/>
              <a:gd name="connsiteX364" fmla="*/ 2721081 w 5794893"/>
              <a:gd name="connsiteY364" fmla="*/ 875123 h 6858000"/>
              <a:gd name="connsiteX365" fmla="*/ 2725997 w 5794893"/>
              <a:gd name="connsiteY365" fmla="*/ 849312 h 6858000"/>
              <a:gd name="connsiteX366" fmla="*/ 2851358 w 5794893"/>
              <a:gd name="connsiteY366" fmla="*/ 875123 h 6858000"/>
              <a:gd name="connsiteX367" fmla="*/ 2855045 w 5794893"/>
              <a:gd name="connsiteY367" fmla="*/ 853000 h 6858000"/>
              <a:gd name="connsiteX368" fmla="*/ 2981636 w 5794893"/>
              <a:gd name="connsiteY368" fmla="*/ 875123 h 6858000"/>
              <a:gd name="connsiteX369" fmla="*/ 2984094 w 5794893"/>
              <a:gd name="connsiteY369" fmla="*/ 856686 h 6858000"/>
              <a:gd name="connsiteX370" fmla="*/ 3110684 w 5794893"/>
              <a:gd name="connsiteY370" fmla="*/ 875123 h 6858000"/>
              <a:gd name="connsiteX371" fmla="*/ 3111913 w 5794893"/>
              <a:gd name="connsiteY371" fmla="*/ 859144 h 6858000"/>
              <a:gd name="connsiteX372" fmla="*/ 3239733 w 5794893"/>
              <a:gd name="connsiteY372" fmla="*/ 875123 h 6858000"/>
              <a:gd name="connsiteX373" fmla="*/ 3240961 w 5794893"/>
              <a:gd name="connsiteY373" fmla="*/ 862832 h 6858000"/>
              <a:gd name="connsiteX374" fmla="*/ 3370010 w 5794893"/>
              <a:gd name="connsiteY374" fmla="*/ 875123 h 6858000"/>
              <a:gd name="connsiteX375" fmla="*/ 3371239 w 5794893"/>
              <a:gd name="connsiteY375" fmla="*/ 865290 h 6858000"/>
              <a:gd name="connsiteX376" fmla="*/ 3501516 w 5794893"/>
              <a:gd name="connsiteY376" fmla="*/ 876351 h 6858000"/>
              <a:gd name="connsiteX377" fmla="*/ 3501516 w 5794893"/>
              <a:gd name="connsiteY377" fmla="*/ 868977 h 6858000"/>
              <a:gd name="connsiteX378" fmla="*/ 3630565 w 5794893"/>
              <a:gd name="connsiteY378" fmla="*/ 876351 h 6858000"/>
              <a:gd name="connsiteX379" fmla="*/ 3630565 w 5794893"/>
              <a:gd name="connsiteY379" fmla="*/ 871435 h 6858000"/>
              <a:gd name="connsiteX380" fmla="*/ 3639168 w 5794893"/>
              <a:gd name="connsiteY380" fmla="*/ 871435 h 6858000"/>
              <a:gd name="connsiteX381" fmla="*/ 3719056 w 5794893"/>
              <a:gd name="connsiteY381" fmla="*/ 873893 h 6858000"/>
              <a:gd name="connsiteX382" fmla="*/ 3719056 w 5794893"/>
              <a:gd name="connsiteY382" fmla="*/ 875123 h 6858000"/>
              <a:gd name="connsiteX383" fmla="*/ 5723611 w 5794893"/>
              <a:gd name="connsiteY383" fmla="*/ 916910 h 6858000"/>
              <a:gd name="connsiteX384" fmla="*/ 3720284 w 5794893"/>
              <a:gd name="connsiteY384" fmla="*/ 916910 h 6858000"/>
              <a:gd name="connsiteX385" fmla="*/ 3721514 w 5794893"/>
              <a:gd name="connsiteY385" fmla="*/ 918138 h 6858000"/>
              <a:gd name="connsiteX386" fmla="*/ 3603527 w 5794893"/>
              <a:gd name="connsiteY386" fmla="*/ 915680 h 6858000"/>
              <a:gd name="connsiteX387" fmla="*/ 3603527 w 5794893"/>
              <a:gd name="connsiteY387" fmla="*/ 919368 h 6858000"/>
              <a:gd name="connsiteX388" fmla="*/ 3485540 w 5794893"/>
              <a:gd name="connsiteY388" fmla="*/ 915680 h 6858000"/>
              <a:gd name="connsiteX389" fmla="*/ 3485540 w 5794893"/>
              <a:gd name="connsiteY389" fmla="*/ 921826 h 6858000"/>
              <a:gd name="connsiteX390" fmla="*/ 3367552 w 5794893"/>
              <a:gd name="connsiteY390" fmla="*/ 915680 h 6858000"/>
              <a:gd name="connsiteX391" fmla="*/ 3367552 w 5794893"/>
              <a:gd name="connsiteY391" fmla="*/ 924284 h 6858000"/>
              <a:gd name="connsiteX392" fmla="*/ 3249565 w 5794893"/>
              <a:gd name="connsiteY392" fmla="*/ 915680 h 6858000"/>
              <a:gd name="connsiteX393" fmla="*/ 3249565 w 5794893"/>
              <a:gd name="connsiteY393" fmla="*/ 926742 h 6858000"/>
              <a:gd name="connsiteX394" fmla="*/ 3132806 w 5794893"/>
              <a:gd name="connsiteY394" fmla="*/ 915680 h 6858000"/>
              <a:gd name="connsiteX395" fmla="*/ 3131578 w 5794893"/>
              <a:gd name="connsiteY395" fmla="*/ 930428 h 6858000"/>
              <a:gd name="connsiteX396" fmla="*/ 3012361 w 5794893"/>
              <a:gd name="connsiteY396" fmla="*/ 915680 h 6858000"/>
              <a:gd name="connsiteX397" fmla="*/ 3011133 w 5794893"/>
              <a:gd name="connsiteY397" fmla="*/ 932886 h 6858000"/>
              <a:gd name="connsiteX398" fmla="*/ 2894374 w 5794893"/>
              <a:gd name="connsiteY398" fmla="*/ 915680 h 6858000"/>
              <a:gd name="connsiteX399" fmla="*/ 2891916 w 5794893"/>
              <a:gd name="connsiteY399" fmla="*/ 936574 h 6858000"/>
              <a:gd name="connsiteX400" fmla="*/ 2776386 w 5794893"/>
              <a:gd name="connsiteY400" fmla="*/ 915680 h 6858000"/>
              <a:gd name="connsiteX401" fmla="*/ 2772700 w 5794893"/>
              <a:gd name="connsiteY401" fmla="*/ 940261 h 6858000"/>
              <a:gd name="connsiteX402" fmla="*/ 2658399 w 5794893"/>
              <a:gd name="connsiteY402" fmla="*/ 915680 h 6858000"/>
              <a:gd name="connsiteX403" fmla="*/ 2653483 w 5794893"/>
              <a:gd name="connsiteY403" fmla="*/ 942719 h 6858000"/>
              <a:gd name="connsiteX404" fmla="*/ 2540412 w 5794893"/>
              <a:gd name="connsiteY404" fmla="*/ 915680 h 6858000"/>
              <a:gd name="connsiteX405" fmla="*/ 2534268 w 5794893"/>
              <a:gd name="connsiteY405" fmla="*/ 947635 h 6858000"/>
              <a:gd name="connsiteX406" fmla="*/ 2422425 w 5794893"/>
              <a:gd name="connsiteY406" fmla="*/ 915680 h 6858000"/>
              <a:gd name="connsiteX407" fmla="*/ 2415051 w 5794893"/>
              <a:gd name="connsiteY407" fmla="*/ 951323 h 6858000"/>
              <a:gd name="connsiteX408" fmla="*/ 2304438 w 5794893"/>
              <a:gd name="connsiteY408" fmla="*/ 915680 h 6858000"/>
              <a:gd name="connsiteX409" fmla="*/ 2294605 w 5794893"/>
              <a:gd name="connsiteY409" fmla="*/ 955009 h 6858000"/>
              <a:gd name="connsiteX410" fmla="*/ 2186450 w 5794893"/>
              <a:gd name="connsiteY410" fmla="*/ 915680 h 6858000"/>
              <a:gd name="connsiteX411" fmla="*/ 2174160 w 5794893"/>
              <a:gd name="connsiteY411" fmla="*/ 959925 h 6858000"/>
              <a:gd name="connsiteX412" fmla="*/ 2068463 w 5794893"/>
              <a:gd name="connsiteY412" fmla="*/ 915680 h 6858000"/>
              <a:gd name="connsiteX413" fmla="*/ 2052486 w 5794893"/>
              <a:gd name="connsiteY413" fmla="*/ 964841 h 6858000"/>
              <a:gd name="connsiteX414" fmla="*/ 1950476 w 5794893"/>
              <a:gd name="connsiteY414" fmla="*/ 915680 h 6858000"/>
              <a:gd name="connsiteX415" fmla="*/ 1930811 w 5794893"/>
              <a:gd name="connsiteY415" fmla="*/ 968529 h 6858000"/>
              <a:gd name="connsiteX416" fmla="*/ 1832489 w 5794893"/>
              <a:gd name="connsiteY416" fmla="*/ 915680 h 6858000"/>
              <a:gd name="connsiteX417" fmla="*/ 1807908 w 5794893"/>
              <a:gd name="connsiteY417" fmla="*/ 973445 h 6858000"/>
              <a:gd name="connsiteX418" fmla="*/ 1714501 w 5794893"/>
              <a:gd name="connsiteY418" fmla="*/ 915680 h 6858000"/>
              <a:gd name="connsiteX419" fmla="*/ 1685005 w 5794893"/>
              <a:gd name="connsiteY419" fmla="*/ 978361 h 6858000"/>
              <a:gd name="connsiteX420" fmla="*/ 1596514 w 5794893"/>
              <a:gd name="connsiteY420" fmla="*/ 915680 h 6858000"/>
              <a:gd name="connsiteX421" fmla="*/ 1560873 w 5794893"/>
              <a:gd name="connsiteY421" fmla="*/ 979590 h 6858000"/>
              <a:gd name="connsiteX422" fmla="*/ 1685005 w 5794893"/>
              <a:gd name="connsiteY422" fmla="*/ 1069310 h 6858000"/>
              <a:gd name="connsiteX423" fmla="*/ 1718189 w 5794893"/>
              <a:gd name="connsiteY423" fmla="*/ 1009087 h 6858000"/>
              <a:gd name="connsiteX424" fmla="*/ 1815282 w 5794893"/>
              <a:gd name="connsiteY424" fmla="*/ 1069310 h 6858000"/>
              <a:gd name="connsiteX425" fmla="*/ 1841092 w 5794893"/>
              <a:gd name="connsiteY425" fmla="*/ 1012774 h 6858000"/>
              <a:gd name="connsiteX426" fmla="*/ 1944331 w 5794893"/>
              <a:gd name="connsiteY426" fmla="*/ 1068080 h 6858000"/>
              <a:gd name="connsiteX427" fmla="*/ 1966454 w 5794893"/>
              <a:gd name="connsiteY427" fmla="*/ 1016461 h 6858000"/>
              <a:gd name="connsiteX428" fmla="*/ 2074609 w 5794893"/>
              <a:gd name="connsiteY428" fmla="*/ 1068080 h 6858000"/>
              <a:gd name="connsiteX429" fmla="*/ 2091815 w 5794893"/>
              <a:gd name="connsiteY429" fmla="*/ 1021377 h 6858000"/>
              <a:gd name="connsiteX430" fmla="*/ 2203657 w 5794893"/>
              <a:gd name="connsiteY430" fmla="*/ 1068080 h 6858000"/>
              <a:gd name="connsiteX431" fmla="*/ 2217177 w 5794893"/>
              <a:gd name="connsiteY431" fmla="*/ 1025065 h 6858000"/>
              <a:gd name="connsiteX432" fmla="*/ 2332706 w 5794893"/>
              <a:gd name="connsiteY432" fmla="*/ 1068080 h 6858000"/>
              <a:gd name="connsiteX433" fmla="*/ 2343767 w 5794893"/>
              <a:gd name="connsiteY433" fmla="*/ 1029981 h 6858000"/>
              <a:gd name="connsiteX434" fmla="*/ 2462984 w 5794893"/>
              <a:gd name="connsiteY434" fmla="*/ 1068080 h 6858000"/>
              <a:gd name="connsiteX435" fmla="*/ 2471586 w 5794893"/>
              <a:gd name="connsiteY435" fmla="*/ 1033667 h 6858000"/>
              <a:gd name="connsiteX436" fmla="*/ 2592031 w 5794893"/>
              <a:gd name="connsiteY436" fmla="*/ 1068080 h 6858000"/>
              <a:gd name="connsiteX437" fmla="*/ 2598177 w 5794893"/>
              <a:gd name="connsiteY437" fmla="*/ 1038583 h 6858000"/>
              <a:gd name="connsiteX438" fmla="*/ 2721081 w 5794893"/>
              <a:gd name="connsiteY438" fmla="*/ 1068080 h 6858000"/>
              <a:gd name="connsiteX439" fmla="*/ 2725997 w 5794893"/>
              <a:gd name="connsiteY439" fmla="*/ 1042271 h 6858000"/>
              <a:gd name="connsiteX440" fmla="*/ 2851358 w 5794893"/>
              <a:gd name="connsiteY440" fmla="*/ 1068080 h 6858000"/>
              <a:gd name="connsiteX441" fmla="*/ 2855045 w 5794893"/>
              <a:gd name="connsiteY441" fmla="*/ 1045958 h 6858000"/>
              <a:gd name="connsiteX442" fmla="*/ 2981636 w 5794893"/>
              <a:gd name="connsiteY442" fmla="*/ 1068080 h 6858000"/>
              <a:gd name="connsiteX443" fmla="*/ 2984094 w 5794893"/>
              <a:gd name="connsiteY443" fmla="*/ 1049645 h 6858000"/>
              <a:gd name="connsiteX444" fmla="*/ 3110684 w 5794893"/>
              <a:gd name="connsiteY444" fmla="*/ 1069310 h 6858000"/>
              <a:gd name="connsiteX445" fmla="*/ 3111913 w 5794893"/>
              <a:gd name="connsiteY445" fmla="*/ 1053332 h 6858000"/>
              <a:gd name="connsiteX446" fmla="*/ 3239733 w 5794893"/>
              <a:gd name="connsiteY446" fmla="*/ 1069310 h 6858000"/>
              <a:gd name="connsiteX447" fmla="*/ 3240961 w 5794893"/>
              <a:gd name="connsiteY447" fmla="*/ 1057020 h 6858000"/>
              <a:gd name="connsiteX448" fmla="*/ 3370010 w 5794893"/>
              <a:gd name="connsiteY448" fmla="*/ 1069310 h 6858000"/>
              <a:gd name="connsiteX449" fmla="*/ 3371239 w 5794893"/>
              <a:gd name="connsiteY449" fmla="*/ 1059478 h 6858000"/>
              <a:gd name="connsiteX450" fmla="*/ 3500288 w 5794893"/>
              <a:gd name="connsiteY450" fmla="*/ 1069310 h 6858000"/>
              <a:gd name="connsiteX451" fmla="*/ 3500288 w 5794893"/>
              <a:gd name="connsiteY451" fmla="*/ 1061936 h 6858000"/>
              <a:gd name="connsiteX452" fmla="*/ 3628107 w 5794893"/>
              <a:gd name="connsiteY452" fmla="*/ 1071768 h 6858000"/>
              <a:gd name="connsiteX453" fmla="*/ 3628107 w 5794893"/>
              <a:gd name="connsiteY453" fmla="*/ 1066852 h 6858000"/>
              <a:gd name="connsiteX454" fmla="*/ 3636710 w 5794893"/>
              <a:gd name="connsiteY454" fmla="*/ 1066852 h 6858000"/>
              <a:gd name="connsiteX455" fmla="*/ 3716598 w 5794893"/>
              <a:gd name="connsiteY455" fmla="*/ 1069310 h 6858000"/>
              <a:gd name="connsiteX456" fmla="*/ 3716598 w 5794893"/>
              <a:gd name="connsiteY456" fmla="*/ 1070538 h 6858000"/>
              <a:gd name="connsiteX457" fmla="*/ 5717465 w 5794893"/>
              <a:gd name="connsiteY457" fmla="*/ 1112325 h 6858000"/>
              <a:gd name="connsiteX458" fmla="*/ 3716598 w 5794893"/>
              <a:gd name="connsiteY458" fmla="*/ 1112325 h 6858000"/>
              <a:gd name="connsiteX459" fmla="*/ 3717826 w 5794893"/>
              <a:gd name="connsiteY459" fmla="*/ 1113555 h 6858000"/>
              <a:gd name="connsiteX460" fmla="*/ 3599839 w 5794893"/>
              <a:gd name="connsiteY460" fmla="*/ 1111097 h 6858000"/>
              <a:gd name="connsiteX461" fmla="*/ 3599839 w 5794893"/>
              <a:gd name="connsiteY461" fmla="*/ 1114783 h 6858000"/>
              <a:gd name="connsiteX462" fmla="*/ 3481852 w 5794893"/>
              <a:gd name="connsiteY462" fmla="*/ 1111097 h 6858000"/>
              <a:gd name="connsiteX463" fmla="*/ 3481852 w 5794893"/>
              <a:gd name="connsiteY463" fmla="*/ 1117242 h 6858000"/>
              <a:gd name="connsiteX464" fmla="*/ 3363865 w 5794893"/>
              <a:gd name="connsiteY464" fmla="*/ 1111097 h 6858000"/>
              <a:gd name="connsiteX465" fmla="*/ 3363865 w 5794893"/>
              <a:gd name="connsiteY465" fmla="*/ 1119700 h 6858000"/>
              <a:gd name="connsiteX466" fmla="*/ 3245877 w 5794893"/>
              <a:gd name="connsiteY466" fmla="*/ 1111097 h 6858000"/>
              <a:gd name="connsiteX467" fmla="*/ 3245877 w 5794893"/>
              <a:gd name="connsiteY467" fmla="*/ 1122158 h 6858000"/>
              <a:gd name="connsiteX468" fmla="*/ 3127890 w 5794893"/>
              <a:gd name="connsiteY468" fmla="*/ 1111097 h 6858000"/>
              <a:gd name="connsiteX469" fmla="*/ 3126662 w 5794893"/>
              <a:gd name="connsiteY469" fmla="*/ 1125845 h 6858000"/>
              <a:gd name="connsiteX470" fmla="*/ 3008674 w 5794893"/>
              <a:gd name="connsiteY470" fmla="*/ 1111097 h 6858000"/>
              <a:gd name="connsiteX471" fmla="*/ 3007445 w 5794893"/>
              <a:gd name="connsiteY471" fmla="*/ 1128304 h 6858000"/>
              <a:gd name="connsiteX472" fmla="*/ 2890687 w 5794893"/>
              <a:gd name="connsiteY472" fmla="*/ 1111097 h 6858000"/>
              <a:gd name="connsiteX473" fmla="*/ 2888229 w 5794893"/>
              <a:gd name="connsiteY473" fmla="*/ 1131990 h 6858000"/>
              <a:gd name="connsiteX474" fmla="*/ 2772700 w 5794893"/>
              <a:gd name="connsiteY474" fmla="*/ 1111097 h 6858000"/>
              <a:gd name="connsiteX475" fmla="*/ 2769012 w 5794893"/>
              <a:gd name="connsiteY475" fmla="*/ 1135678 h 6858000"/>
              <a:gd name="connsiteX476" fmla="*/ 2654713 w 5794893"/>
              <a:gd name="connsiteY476" fmla="*/ 1111097 h 6858000"/>
              <a:gd name="connsiteX477" fmla="*/ 2649797 w 5794893"/>
              <a:gd name="connsiteY477" fmla="*/ 1138136 h 6858000"/>
              <a:gd name="connsiteX478" fmla="*/ 2536726 w 5794893"/>
              <a:gd name="connsiteY478" fmla="*/ 1111097 h 6858000"/>
              <a:gd name="connsiteX479" fmla="*/ 2530580 w 5794893"/>
              <a:gd name="connsiteY479" fmla="*/ 1143052 h 6858000"/>
              <a:gd name="connsiteX480" fmla="*/ 2418738 w 5794893"/>
              <a:gd name="connsiteY480" fmla="*/ 1111097 h 6858000"/>
              <a:gd name="connsiteX481" fmla="*/ 2411364 w 5794893"/>
              <a:gd name="connsiteY481" fmla="*/ 1146738 h 6858000"/>
              <a:gd name="connsiteX482" fmla="*/ 2300751 w 5794893"/>
              <a:gd name="connsiteY482" fmla="*/ 1111097 h 6858000"/>
              <a:gd name="connsiteX483" fmla="*/ 2290919 w 5794893"/>
              <a:gd name="connsiteY483" fmla="*/ 1150426 h 6858000"/>
              <a:gd name="connsiteX484" fmla="*/ 2182764 w 5794893"/>
              <a:gd name="connsiteY484" fmla="*/ 1111097 h 6858000"/>
              <a:gd name="connsiteX485" fmla="*/ 2170474 w 5794893"/>
              <a:gd name="connsiteY485" fmla="*/ 1155342 h 6858000"/>
              <a:gd name="connsiteX486" fmla="*/ 2064777 w 5794893"/>
              <a:gd name="connsiteY486" fmla="*/ 1111097 h 6858000"/>
              <a:gd name="connsiteX487" fmla="*/ 2048799 w 5794893"/>
              <a:gd name="connsiteY487" fmla="*/ 1160258 h 6858000"/>
              <a:gd name="connsiteX488" fmla="*/ 1946789 w 5794893"/>
              <a:gd name="connsiteY488" fmla="*/ 1111097 h 6858000"/>
              <a:gd name="connsiteX489" fmla="*/ 1927125 w 5794893"/>
              <a:gd name="connsiteY489" fmla="*/ 1163945 h 6858000"/>
              <a:gd name="connsiteX490" fmla="*/ 1828802 w 5794893"/>
              <a:gd name="connsiteY490" fmla="*/ 1111097 h 6858000"/>
              <a:gd name="connsiteX491" fmla="*/ 1804221 w 5794893"/>
              <a:gd name="connsiteY491" fmla="*/ 1168861 h 6858000"/>
              <a:gd name="connsiteX492" fmla="*/ 1710815 w 5794893"/>
              <a:gd name="connsiteY492" fmla="*/ 1111097 h 6858000"/>
              <a:gd name="connsiteX493" fmla="*/ 1681318 w 5794893"/>
              <a:gd name="connsiteY493" fmla="*/ 1173777 h 6858000"/>
              <a:gd name="connsiteX494" fmla="*/ 1592828 w 5794893"/>
              <a:gd name="connsiteY494" fmla="*/ 1111097 h 6858000"/>
              <a:gd name="connsiteX495" fmla="*/ 1557185 w 5794893"/>
              <a:gd name="connsiteY495" fmla="*/ 1175007 h 6858000"/>
              <a:gd name="connsiteX496" fmla="*/ 1683776 w 5794893"/>
              <a:gd name="connsiteY496" fmla="*/ 1263497 h 6858000"/>
              <a:gd name="connsiteX497" fmla="*/ 1716959 w 5794893"/>
              <a:gd name="connsiteY497" fmla="*/ 1203274 h 6858000"/>
              <a:gd name="connsiteX498" fmla="*/ 1814054 w 5794893"/>
              <a:gd name="connsiteY498" fmla="*/ 1263497 h 6858000"/>
              <a:gd name="connsiteX499" fmla="*/ 1841092 w 5794893"/>
              <a:gd name="connsiteY499" fmla="*/ 1208190 h 6858000"/>
              <a:gd name="connsiteX500" fmla="*/ 1944331 w 5794893"/>
              <a:gd name="connsiteY500" fmla="*/ 1263497 h 6858000"/>
              <a:gd name="connsiteX501" fmla="*/ 1966454 w 5794893"/>
              <a:gd name="connsiteY501" fmla="*/ 1211878 h 6858000"/>
              <a:gd name="connsiteX502" fmla="*/ 2074609 w 5794893"/>
              <a:gd name="connsiteY502" fmla="*/ 1263497 h 6858000"/>
              <a:gd name="connsiteX503" fmla="*/ 2091815 w 5794893"/>
              <a:gd name="connsiteY503" fmla="*/ 1216794 h 6858000"/>
              <a:gd name="connsiteX504" fmla="*/ 2203657 w 5794893"/>
              <a:gd name="connsiteY504" fmla="*/ 1263497 h 6858000"/>
              <a:gd name="connsiteX505" fmla="*/ 2217177 w 5794893"/>
              <a:gd name="connsiteY505" fmla="*/ 1220480 h 6858000"/>
              <a:gd name="connsiteX506" fmla="*/ 2332706 w 5794893"/>
              <a:gd name="connsiteY506" fmla="*/ 1263497 h 6858000"/>
              <a:gd name="connsiteX507" fmla="*/ 2343767 w 5794893"/>
              <a:gd name="connsiteY507" fmla="*/ 1225397 h 6858000"/>
              <a:gd name="connsiteX508" fmla="*/ 2462984 w 5794893"/>
              <a:gd name="connsiteY508" fmla="*/ 1263497 h 6858000"/>
              <a:gd name="connsiteX509" fmla="*/ 2471586 w 5794893"/>
              <a:gd name="connsiteY509" fmla="*/ 1229084 h 6858000"/>
              <a:gd name="connsiteX510" fmla="*/ 2592031 w 5794893"/>
              <a:gd name="connsiteY510" fmla="*/ 1263497 h 6858000"/>
              <a:gd name="connsiteX511" fmla="*/ 2598177 w 5794893"/>
              <a:gd name="connsiteY511" fmla="*/ 1234000 h 6858000"/>
              <a:gd name="connsiteX512" fmla="*/ 2721081 w 5794893"/>
              <a:gd name="connsiteY512" fmla="*/ 1263497 h 6858000"/>
              <a:gd name="connsiteX513" fmla="*/ 2725997 w 5794893"/>
              <a:gd name="connsiteY513" fmla="*/ 1237687 h 6858000"/>
              <a:gd name="connsiteX514" fmla="*/ 2851358 w 5794893"/>
              <a:gd name="connsiteY514" fmla="*/ 1263497 h 6858000"/>
              <a:gd name="connsiteX515" fmla="*/ 2855045 w 5794893"/>
              <a:gd name="connsiteY515" fmla="*/ 1241375 h 6858000"/>
              <a:gd name="connsiteX516" fmla="*/ 2981636 w 5794893"/>
              <a:gd name="connsiteY516" fmla="*/ 1263497 h 6858000"/>
              <a:gd name="connsiteX517" fmla="*/ 2984094 w 5794893"/>
              <a:gd name="connsiteY517" fmla="*/ 1245061 h 6858000"/>
              <a:gd name="connsiteX518" fmla="*/ 3110684 w 5794893"/>
              <a:gd name="connsiteY518" fmla="*/ 1263497 h 6858000"/>
              <a:gd name="connsiteX519" fmla="*/ 3111913 w 5794893"/>
              <a:gd name="connsiteY519" fmla="*/ 1247519 h 6858000"/>
              <a:gd name="connsiteX520" fmla="*/ 3239733 w 5794893"/>
              <a:gd name="connsiteY520" fmla="*/ 1263497 h 6858000"/>
              <a:gd name="connsiteX521" fmla="*/ 3240961 w 5794893"/>
              <a:gd name="connsiteY521" fmla="*/ 1251207 h 6858000"/>
              <a:gd name="connsiteX522" fmla="*/ 3370010 w 5794893"/>
              <a:gd name="connsiteY522" fmla="*/ 1263497 h 6858000"/>
              <a:gd name="connsiteX523" fmla="*/ 3371239 w 5794893"/>
              <a:gd name="connsiteY523" fmla="*/ 1253665 h 6858000"/>
              <a:gd name="connsiteX524" fmla="*/ 3500288 w 5794893"/>
              <a:gd name="connsiteY524" fmla="*/ 1263497 h 6858000"/>
              <a:gd name="connsiteX525" fmla="*/ 3500288 w 5794893"/>
              <a:gd name="connsiteY525" fmla="*/ 1256123 h 6858000"/>
              <a:gd name="connsiteX526" fmla="*/ 3629336 w 5794893"/>
              <a:gd name="connsiteY526" fmla="*/ 1263497 h 6858000"/>
              <a:gd name="connsiteX527" fmla="*/ 3629336 w 5794893"/>
              <a:gd name="connsiteY527" fmla="*/ 1258581 h 6858000"/>
              <a:gd name="connsiteX528" fmla="*/ 3637940 w 5794893"/>
              <a:gd name="connsiteY528" fmla="*/ 1258581 h 6858000"/>
              <a:gd name="connsiteX529" fmla="*/ 3714140 w 5794893"/>
              <a:gd name="connsiteY529" fmla="*/ 1272100 h 6858000"/>
              <a:gd name="connsiteX530" fmla="*/ 3714140 w 5794893"/>
              <a:gd name="connsiteY530" fmla="*/ 1273329 h 6858000"/>
              <a:gd name="connsiteX531" fmla="*/ 5554003 w 5794893"/>
              <a:gd name="connsiteY531" fmla="*/ 1307742 h 6858000"/>
              <a:gd name="connsiteX532" fmla="*/ 3715368 w 5794893"/>
              <a:gd name="connsiteY532" fmla="*/ 1307742 h 6858000"/>
              <a:gd name="connsiteX533" fmla="*/ 3715368 w 5794893"/>
              <a:gd name="connsiteY533" fmla="*/ 1308971 h 6858000"/>
              <a:gd name="connsiteX534" fmla="*/ 3597381 w 5794893"/>
              <a:gd name="connsiteY534" fmla="*/ 1306513 h 6858000"/>
              <a:gd name="connsiteX535" fmla="*/ 3597381 w 5794893"/>
              <a:gd name="connsiteY535" fmla="*/ 1310200 h 6858000"/>
              <a:gd name="connsiteX536" fmla="*/ 3479394 w 5794893"/>
              <a:gd name="connsiteY536" fmla="*/ 1306513 h 6858000"/>
              <a:gd name="connsiteX537" fmla="*/ 3479394 w 5794893"/>
              <a:gd name="connsiteY537" fmla="*/ 1312659 h 6858000"/>
              <a:gd name="connsiteX538" fmla="*/ 3361406 w 5794893"/>
              <a:gd name="connsiteY538" fmla="*/ 1306513 h 6858000"/>
              <a:gd name="connsiteX539" fmla="*/ 3361406 w 5794893"/>
              <a:gd name="connsiteY539" fmla="*/ 1315117 h 6858000"/>
              <a:gd name="connsiteX540" fmla="*/ 3243419 w 5794893"/>
              <a:gd name="connsiteY540" fmla="*/ 1306513 h 6858000"/>
              <a:gd name="connsiteX541" fmla="*/ 3243419 w 5794893"/>
              <a:gd name="connsiteY541" fmla="*/ 1317575 h 6858000"/>
              <a:gd name="connsiteX542" fmla="*/ 3125432 w 5794893"/>
              <a:gd name="connsiteY542" fmla="*/ 1306513 h 6858000"/>
              <a:gd name="connsiteX543" fmla="*/ 3124204 w 5794893"/>
              <a:gd name="connsiteY543" fmla="*/ 1321261 h 6858000"/>
              <a:gd name="connsiteX544" fmla="*/ 3006216 w 5794893"/>
              <a:gd name="connsiteY544" fmla="*/ 1306513 h 6858000"/>
              <a:gd name="connsiteX545" fmla="*/ 3004987 w 5794893"/>
              <a:gd name="connsiteY545" fmla="*/ 1323719 h 6858000"/>
              <a:gd name="connsiteX546" fmla="*/ 2888229 w 5794893"/>
              <a:gd name="connsiteY546" fmla="*/ 1306513 h 6858000"/>
              <a:gd name="connsiteX547" fmla="*/ 2885771 w 5794893"/>
              <a:gd name="connsiteY547" fmla="*/ 1327407 h 6858000"/>
              <a:gd name="connsiteX548" fmla="*/ 2770242 w 5794893"/>
              <a:gd name="connsiteY548" fmla="*/ 1306513 h 6858000"/>
              <a:gd name="connsiteX549" fmla="*/ 2766554 w 5794893"/>
              <a:gd name="connsiteY549" fmla="*/ 1331093 h 6858000"/>
              <a:gd name="connsiteX550" fmla="*/ 2652255 w 5794893"/>
              <a:gd name="connsiteY550" fmla="*/ 1306513 h 6858000"/>
              <a:gd name="connsiteX551" fmla="*/ 2647339 w 5794893"/>
              <a:gd name="connsiteY551" fmla="*/ 1333551 h 6858000"/>
              <a:gd name="connsiteX552" fmla="*/ 2534268 w 5794893"/>
              <a:gd name="connsiteY552" fmla="*/ 1306513 h 6858000"/>
              <a:gd name="connsiteX553" fmla="*/ 2528122 w 5794893"/>
              <a:gd name="connsiteY553" fmla="*/ 1338468 h 6858000"/>
              <a:gd name="connsiteX554" fmla="*/ 2416280 w 5794893"/>
              <a:gd name="connsiteY554" fmla="*/ 1306513 h 6858000"/>
              <a:gd name="connsiteX555" fmla="*/ 2408906 w 5794893"/>
              <a:gd name="connsiteY555" fmla="*/ 1342155 h 6858000"/>
              <a:gd name="connsiteX556" fmla="*/ 2298293 w 5794893"/>
              <a:gd name="connsiteY556" fmla="*/ 1306513 h 6858000"/>
              <a:gd name="connsiteX557" fmla="*/ 2288461 w 5794893"/>
              <a:gd name="connsiteY557" fmla="*/ 1345842 h 6858000"/>
              <a:gd name="connsiteX558" fmla="*/ 2180306 w 5794893"/>
              <a:gd name="connsiteY558" fmla="*/ 1306513 h 6858000"/>
              <a:gd name="connsiteX559" fmla="*/ 2168015 w 5794893"/>
              <a:gd name="connsiteY559" fmla="*/ 1350758 h 6858000"/>
              <a:gd name="connsiteX560" fmla="*/ 2062319 w 5794893"/>
              <a:gd name="connsiteY560" fmla="*/ 1306513 h 6858000"/>
              <a:gd name="connsiteX561" fmla="*/ 2046340 w 5794893"/>
              <a:gd name="connsiteY561" fmla="*/ 1355674 h 6858000"/>
              <a:gd name="connsiteX562" fmla="*/ 1944331 w 5794893"/>
              <a:gd name="connsiteY562" fmla="*/ 1306513 h 6858000"/>
              <a:gd name="connsiteX563" fmla="*/ 1924667 w 5794893"/>
              <a:gd name="connsiteY563" fmla="*/ 1359362 h 6858000"/>
              <a:gd name="connsiteX564" fmla="*/ 1826344 w 5794893"/>
              <a:gd name="connsiteY564" fmla="*/ 1306513 h 6858000"/>
              <a:gd name="connsiteX565" fmla="*/ 1801763 w 5794893"/>
              <a:gd name="connsiteY565" fmla="*/ 1364278 h 6858000"/>
              <a:gd name="connsiteX566" fmla="*/ 1708357 w 5794893"/>
              <a:gd name="connsiteY566" fmla="*/ 1306513 h 6858000"/>
              <a:gd name="connsiteX567" fmla="*/ 1678860 w 5794893"/>
              <a:gd name="connsiteY567" fmla="*/ 1369194 h 6858000"/>
              <a:gd name="connsiteX568" fmla="*/ 1590370 w 5794893"/>
              <a:gd name="connsiteY568" fmla="*/ 1306513 h 6858000"/>
              <a:gd name="connsiteX569" fmla="*/ 1558424 w 5794893"/>
              <a:gd name="connsiteY569" fmla="*/ 1363794 h 6858000"/>
              <a:gd name="connsiteX570" fmla="*/ 1476069 w 5794893"/>
              <a:gd name="connsiteY570" fmla="*/ 1297910 h 6858000"/>
              <a:gd name="connsiteX571" fmla="*/ 1439198 w 5794893"/>
              <a:gd name="connsiteY571" fmla="*/ 1356904 h 6858000"/>
              <a:gd name="connsiteX572" fmla="*/ 1555957 w 5794893"/>
              <a:gd name="connsiteY572" fmla="*/ 1450310 h 6858000"/>
              <a:gd name="connsiteX573" fmla="*/ 1590332 w 5794893"/>
              <a:gd name="connsiteY573" fmla="*/ 1395311 h 6858000"/>
              <a:gd name="connsiteX574" fmla="*/ 1681318 w 5794893"/>
              <a:gd name="connsiteY574" fmla="*/ 1458913 h 6858000"/>
              <a:gd name="connsiteX575" fmla="*/ 1714501 w 5794893"/>
              <a:gd name="connsiteY575" fmla="*/ 1398691 h 6858000"/>
              <a:gd name="connsiteX576" fmla="*/ 1811596 w 5794893"/>
              <a:gd name="connsiteY576" fmla="*/ 1458913 h 6858000"/>
              <a:gd name="connsiteX577" fmla="*/ 1838634 w 5794893"/>
              <a:gd name="connsiteY577" fmla="*/ 1403607 h 6858000"/>
              <a:gd name="connsiteX578" fmla="*/ 1941873 w 5794893"/>
              <a:gd name="connsiteY578" fmla="*/ 1458913 h 6858000"/>
              <a:gd name="connsiteX579" fmla="*/ 1963996 w 5794893"/>
              <a:gd name="connsiteY579" fmla="*/ 1407293 h 6858000"/>
              <a:gd name="connsiteX580" fmla="*/ 2072151 w 5794893"/>
              <a:gd name="connsiteY580" fmla="*/ 1458913 h 6858000"/>
              <a:gd name="connsiteX581" fmla="*/ 2089357 w 5794893"/>
              <a:gd name="connsiteY581" fmla="*/ 1412210 h 6858000"/>
              <a:gd name="connsiteX582" fmla="*/ 2201199 w 5794893"/>
              <a:gd name="connsiteY582" fmla="*/ 1458913 h 6858000"/>
              <a:gd name="connsiteX583" fmla="*/ 2214719 w 5794893"/>
              <a:gd name="connsiteY583" fmla="*/ 1415897 h 6858000"/>
              <a:gd name="connsiteX584" fmla="*/ 2330248 w 5794893"/>
              <a:gd name="connsiteY584" fmla="*/ 1458913 h 6858000"/>
              <a:gd name="connsiteX585" fmla="*/ 2341309 w 5794893"/>
              <a:gd name="connsiteY585" fmla="*/ 1420814 h 6858000"/>
              <a:gd name="connsiteX586" fmla="*/ 2460525 w 5794893"/>
              <a:gd name="connsiteY586" fmla="*/ 1458913 h 6858000"/>
              <a:gd name="connsiteX587" fmla="*/ 2469128 w 5794893"/>
              <a:gd name="connsiteY587" fmla="*/ 1424500 h 6858000"/>
              <a:gd name="connsiteX588" fmla="*/ 2590803 w 5794893"/>
              <a:gd name="connsiteY588" fmla="*/ 1458913 h 6858000"/>
              <a:gd name="connsiteX589" fmla="*/ 2596948 w 5794893"/>
              <a:gd name="connsiteY589" fmla="*/ 1429416 h 6858000"/>
              <a:gd name="connsiteX590" fmla="*/ 2719851 w 5794893"/>
              <a:gd name="connsiteY590" fmla="*/ 1458913 h 6858000"/>
              <a:gd name="connsiteX591" fmla="*/ 2724767 w 5794893"/>
              <a:gd name="connsiteY591" fmla="*/ 1433104 h 6858000"/>
              <a:gd name="connsiteX592" fmla="*/ 2850129 w 5794893"/>
              <a:gd name="connsiteY592" fmla="*/ 1458913 h 6858000"/>
              <a:gd name="connsiteX593" fmla="*/ 2853816 w 5794893"/>
              <a:gd name="connsiteY593" fmla="*/ 1436790 h 6858000"/>
              <a:gd name="connsiteX594" fmla="*/ 2980406 w 5794893"/>
              <a:gd name="connsiteY594" fmla="*/ 1458913 h 6858000"/>
              <a:gd name="connsiteX595" fmla="*/ 2982864 w 5794893"/>
              <a:gd name="connsiteY595" fmla="*/ 1440478 h 6858000"/>
              <a:gd name="connsiteX596" fmla="*/ 3109455 w 5794893"/>
              <a:gd name="connsiteY596" fmla="*/ 1458913 h 6858000"/>
              <a:gd name="connsiteX597" fmla="*/ 3110684 w 5794893"/>
              <a:gd name="connsiteY597" fmla="*/ 1442936 h 6858000"/>
              <a:gd name="connsiteX598" fmla="*/ 3238503 w 5794893"/>
              <a:gd name="connsiteY598" fmla="*/ 1458913 h 6858000"/>
              <a:gd name="connsiteX599" fmla="*/ 3239733 w 5794893"/>
              <a:gd name="connsiteY599" fmla="*/ 1446623 h 6858000"/>
              <a:gd name="connsiteX600" fmla="*/ 3368781 w 5794893"/>
              <a:gd name="connsiteY600" fmla="*/ 1458913 h 6858000"/>
              <a:gd name="connsiteX601" fmla="*/ 3370010 w 5794893"/>
              <a:gd name="connsiteY601" fmla="*/ 1449081 h 6858000"/>
              <a:gd name="connsiteX602" fmla="*/ 3499058 w 5794893"/>
              <a:gd name="connsiteY602" fmla="*/ 1458913 h 6858000"/>
              <a:gd name="connsiteX603" fmla="*/ 3499058 w 5794893"/>
              <a:gd name="connsiteY603" fmla="*/ 1451539 h 6858000"/>
              <a:gd name="connsiteX604" fmla="*/ 3628107 w 5794893"/>
              <a:gd name="connsiteY604" fmla="*/ 1458913 h 6858000"/>
              <a:gd name="connsiteX605" fmla="*/ 3628107 w 5794893"/>
              <a:gd name="connsiteY605" fmla="*/ 1453997 h 6858000"/>
              <a:gd name="connsiteX606" fmla="*/ 3636710 w 5794893"/>
              <a:gd name="connsiteY606" fmla="*/ 1453997 h 6858000"/>
              <a:gd name="connsiteX607" fmla="*/ 3716598 w 5794893"/>
              <a:gd name="connsiteY607" fmla="*/ 1456455 h 6858000"/>
              <a:gd name="connsiteX608" fmla="*/ 3716598 w 5794893"/>
              <a:gd name="connsiteY608" fmla="*/ 1457685 h 6858000"/>
              <a:gd name="connsiteX609" fmla="*/ 5780145 w 5794893"/>
              <a:gd name="connsiteY609" fmla="*/ 1497014 h 6858000"/>
              <a:gd name="connsiteX610" fmla="*/ 3716598 w 5794893"/>
              <a:gd name="connsiteY610" fmla="*/ 1497014 h 6858000"/>
              <a:gd name="connsiteX611" fmla="*/ 3717826 w 5794893"/>
              <a:gd name="connsiteY611" fmla="*/ 1498242 h 6858000"/>
              <a:gd name="connsiteX612" fmla="*/ 3599839 w 5794893"/>
              <a:gd name="connsiteY612" fmla="*/ 1495784 h 6858000"/>
              <a:gd name="connsiteX613" fmla="*/ 3599839 w 5794893"/>
              <a:gd name="connsiteY613" fmla="*/ 1499472 h 6858000"/>
              <a:gd name="connsiteX614" fmla="*/ 3481852 w 5794893"/>
              <a:gd name="connsiteY614" fmla="*/ 1495784 h 6858000"/>
              <a:gd name="connsiteX615" fmla="*/ 3481852 w 5794893"/>
              <a:gd name="connsiteY615" fmla="*/ 1501930 h 6858000"/>
              <a:gd name="connsiteX616" fmla="*/ 3363865 w 5794893"/>
              <a:gd name="connsiteY616" fmla="*/ 1495784 h 6858000"/>
              <a:gd name="connsiteX617" fmla="*/ 3363865 w 5794893"/>
              <a:gd name="connsiteY617" fmla="*/ 1504388 h 6858000"/>
              <a:gd name="connsiteX618" fmla="*/ 3245877 w 5794893"/>
              <a:gd name="connsiteY618" fmla="*/ 1495784 h 6858000"/>
              <a:gd name="connsiteX619" fmla="*/ 3245877 w 5794893"/>
              <a:gd name="connsiteY619" fmla="*/ 1506846 h 6858000"/>
              <a:gd name="connsiteX620" fmla="*/ 3127890 w 5794893"/>
              <a:gd name="connsiteY620" fmla="*/ 1495784 h 6858000"/>
              <a:gd name="connsiteX621" fmla="*/ 3126662 w 5794893"/>
              <a:gd name="connsiteY621" fmla="*/ 1510532 h 6858000"/>
              <a:gd name="connsiteX622" fmla="*/ 3008674 w 5794893"/>
              <a:gd name="connsiteY622" fmla="*/ 1495784 h 6858000"/>
              <a:gd name="connsiteX623" fmla="*/ 3007445 w 5794893"/>
              <a:gd name="connsiteY623" fmla="*/ 1512990 h 6858000"/>
              <a:gd name="connsiteX624" fmla="*/ 2890687 w 5794893"/>
              <a:gd name="connsiteY624" fmla="*/ 1495784 h 6858000"/>
              <a:gd name="connsiteX625" fmla="*/ 2888229 w 5794893"/>
              <a:gd name="connsiteY625" fmla="*/ 1516678 h 6858000"/>
              <a:gd name="connsiteX626" fmla="*/ 2772700 w 5794893"/>
              <a:gd name="connsiteY626" fmla="*/ 1495784 h 6858000"/>
              <a:gd name="connsiteX627" fmla="*/ 2769012 w 5794893"/>
              <a:gd name="connsiteY627" fmla="*/ 1520365 h 6858000"/>
              <a:gd name="connsiteX628" fmla="*/ 2654713 w 5794893"/>
              <a:gd name="connsiteY628" fmla="*/ 1495784 h 6858000"/>
              <a:gd name="connsiteX629" fmla="*/ 2649797 w 5794893"/>
              <a:gd name="connsiteY629" fmla="*/ 1522823 h 6858000"/>
              <a:gd name="connsiteX630" fmla="*/ 2536726 w 5794893"/>
              <a:gd name="connsiteY630" fmla="*/ 1495784 h 6858000"/>
              <a:gd name="connsiteX631" fmla="*/ 2530580 w 5794893"/>
              <a:gd name="connsiteY631" fmla="*/ 1526510 h 6858000"/>
              <a:gd name="connsiteX632" fmla="*/ 2418738 w 5794893"/>
              <a:gd name="connsiteY632" fmla="*/ 1494556 h 6858000"/>
              <a:gd name="connsiteX633" fmla="*/ 2411364 w 5794893"/>
              <a:gd name="connsiteY633" fmla="*/ 1530197 h 6858000"/>
              <a:gd name="connsiteX634" fmla="*/ 2300751 w 5794893"/>
              <a:gd name="connsiteY634" fmla="*/ 1494556 h 6858000"/>
              <a:gd name="connsiteX635" fmla="*/ 2290919 w 5794893"/>
              <a:gd name="connsiteY635" fmla="*/ 1533885 h 6858000"/>
              <a:gd name="connsiteX636" fmla="*/ 2182764 w 5794893"/>
              <a:gd name="connsiteY636" fmla="*/ 1494556 h 6858000"/>
              <a:gd name="connsiteX637" fmla="*/ 2170474 w 5794893"/>
              <a:gd name="connsiteY637" fmla="*/ 1538801 h 6858000"/>
              <a:gd name="connsiteX638" fmla="*/ 2064777 w 5794893"/>
              <a:gd name="connsiteY638" fmla="*/ 1494556 h 6858000"/>
              <a:gd name="connsiteX639" fmla="*/ 2048799 w 5794893"/>
              <a:gd name="connsiteY639" fmla="*/ 1543717 h 6858000"/>
              <a:gd name="connsiteX640" fmla="*/ 1946789 w 5794893"/>
              <a:gd name="connsiteY640" fmla="*/ 1494556 h 6858000"/>
              <a:gd name="connsiteX641" fmla="*/ 1927125 w 5794893"/>
              <a:gd name="connsiteY641" fmla="*/ 1547403 h 6858000"/>
              <a:gd name="connsiteX642" fmla="*/ 1828802 w 5794893"/>
              <a:gd name="connsiteY642" fmla="*/ 1494556 h 6858000"/>
              <a:gd name="connsiteX643" fmla="*/ 1804221 w 5794893"/>
              <a:gd name="connsiteY643" fmla="*/ 1552319 h 6858000"/>
              <a:gd name="connsiteX644" fmla="*/ 1710815 w 5794893"/>
              <a:gd name="connsiteY644" fmla="*/ 1494556 h 6858000"/>
              <a:gd name="connsiteX645" fmla="*/ 1681318 w 5794893"/>
              <a:gd name="connsiteY645" fmla="*/ 1557236 h 6858000"/>
              <a:gd name="connsiteX646" fmla="*/ 1592828 w 5794893"/>
              <a:gd name="connsiteY646" fmla="*/ 1494556 h 6858000"/>
              <a:gd name="connsiteX647" fmla="*/ 1558702 w 5794893"/>
              <a:gd name="connsiteY647" fmla="*/ 1555745 h 6858000"/>
              <a:gd name="connsiteX648" fmla="*/ 1476069 w 5794893"/>
              <a:gd name="connsiteY648" fmla="*/ 1489639 h 6858000"/>
              <a:gd name="connsiteX649" fmla="*/ 1439198 w 5794893"/>
              <a:gd name="connsiteY649" fmla="*/ 1548633 h 6858000"/>
              <a:gd name="connsiteX650" fmla="*/ 1555957 w 5794893"/>
              <a:gd name="connsiteY650" fmla="*/ 1642040 h 6858000"/>
              <a:gd name="connsiteX651" fmla="*/ 1592683 w 5794893"/>
              <a:gd name="connsiteY651" fmla="*/ 1583279 h 6858000"/>
              <a:gd name="connsiteX652" fmla="*/ 1683776 w 5794893"/>
              <a:gd name="connsiteY652" fmla="*/ 1646956 h 6858000"/>
              <a:gd name="connsiteX653" fmla="*/ 1716959 w 5794893"/>
              <a:gd name="connsiteY653" fmla="*/ 1586732 h 6858000"/>
              <a:gd name="connsiteX654" fmla="*/ 1814054 w 5794893"/>
              <a:gd name="connsiteY654" fmla="*/ 1646956 h 6858000"/>
              <a:gd name="connsiteX655" fmla="*/ 1841092 w 5794893"/>
              <a:gd name="connsiteY655" fmla="*/ 1591649 h 6858000"/>
              <a:gd name="connsiteX656" fmla="*/ 1944331 w 5794893"/>
              <a:gd name="connsiteY656" fmla="*/ 1646956 h 6858000"/>
              <a:gd name="connsiteX657" fmla="*/ 1966454 w 5794893"/>
              <a:gd name="connsiteY657" fmla="*/ 1595336 h 6858000"/>
              <a:gd name="connsiteX658" fmla="*/ 2074609 w 5794893"/>
              <a:gd name="connsiteY658" fmla="*/ 1646956 h 6858000"/>
              <a:gd name="connsiteX659" fmla="*/ 2091815 w 5794893"/>
              <a:gd name="connsiteY659" fmla="*/ 1600252 h 6858000"/>
              <a:gd name="connsiteX660" fmla="*/ 2203657 w 5794893"/>
              <a:gd name="connsiteY660" fmla="*/ 1646956 h 6858000"/>
              <a:gd name="connsiteX661" fmla="*/ 2217177 w 5794893"/>
              <a:gd name="connsiteY661" fmla="*/ 1603939 h 6858000"/>
              <a:gd name="connsiteX662" fmla="*/ 2332706 w 5794893"/>
              <a:gd name="connsiteY662" fmla="*/ 1646956 h 6858000"/>
              <a:gd name="connsiteX663" fmla="*/ 2343767 w 5794893"/>
              <a:gd name="connsiteY663" fmla="*/ 1608855 h 6858000"/>
              <a:gd name="connsiteX664" fmla="*/ 2462984 w 5794893"/>
              <a:gd name="connsiteY664" fmla="*/ 1646956 h 6858000"/>
              <a:gd name="connsiteX665" fmla="*/ 2471586 w 5794893"/>
              <a:gd name="connsiteY665" fmla="*/ 1612543 h 6858000"/>
              <a:gd name="connsiteX666" fmla="*/ 2593261 w 5794893"/>
              <a:gd name="connsiteY666" fmla="*/ 1646956 h 6858000"/>
              <a:gd name="connsiteX667" fmla="*/ 2599406 w 5794893"/>
              <a:gd name="connsiteY667" fmla="*/ 1617459 h 6858000"/>
              <a:gd name="connsiteX668" fmla="*/ 2722309 w 5794893"/>
              <a:gd name="connsiteY668" fmla="*/ 1646956 h 6858000"/>
              <a:gd name="connsiteX669" fmla="*/ 2727225 w 5794893"/>
              <a:gd name="connsiteY669" fmla="*/ 1621145 h 6858000"/>
              <a:gd name="connsiteX670" fmla="*/ 2851358 w 5794893"/>
              <a:gd name="connsiteY670" fmla="*/ 1646956 h 6858000"/>
              <a:gd name="connsiteX671" fmla="*/ 2855045 w 5794893"/>
              <a:gd name="connsiteY671" fmla="*/ 1624833 h 6858000"/>
              <a:gd name="connsiteX672" fmla="*/ 2981636 w 5794893"/>
              <a:gd name="connsiteY672" fmla="*/ 1646956 h 6858000"/>
              <a:gd name="connsiteX673" fmla="*/ 2984094 w 5794893"/>
              <a:gd name="connsiteY673" fmla="*/ 1628520 h 6858000"/>
              <a:gd name="connsiteX674" fmla="*/ 3110684 w 5794893"/>
              <a:gd name="connsiteY674" fmla="*/ 1646956 h 6858000"/>
              <a:gd name="connsiteX675" fmla="*/ 3111913 w 5794893"/>
              <a:gd name="connsiteY675" fmla="*/ 1630978 h 6858000"/>
              <a:gd name="connsiteX676" fmla="*/ 3239733 w 5794893"/>
              <a:gd name="connsiteY676" fmla="*/ 1646956 h 6858000"/>
              <a:gd name="connsiteX677" fmla="*/ 3240961 w 5794893"/>
              <a:gd name="connsiteY677" fmla="*/ 1634665 h 6858000"/>
              <a:gd name="connsiteX678" fmla="*/ 3370010 w 5794893"/>
              <a:gd name="connsiteY678" fmla="*/ 1646956 h 6858000"/>
              <a:gd name="connsiteX679" fmla="*/ 3371239 w 5794893"/>
              <a:gd name="connsiteY679" fmla="*/ 1637123 h 6858000"/>
              <a:gd name="connsiteX680" fmla="*/ 3500288 w 5794893"/>
              <a:gd name="connsiteY680" fmla="*/ 1646956 h 6858000"/>
              <a:gd name="connsiteX681" fmla="*/ 3500288 w 5794893"/>
              <a:gd name="connsiteY681" fmla="*/ 1639581 h 6858000"/>
              <a:gd name="connsiteX682" fmla="*/ 3629336 w 5794893"/>
              <a:gd name="connsiteY682" fmla="*/ 1646956 h 6858000"/>
              <a:gd name="connsiteX683" fmla="*/ 3629336 w 5794893"/>
              <a:gd name="connsiteY683" fmla="*/ 1642040 h 6858000"/>
              <a:gd name="connsiteX684" fmla="*/ 3637940 w 5794893"/>
              <a:gd name="connsiteY684" fmla="*/ 1642040 h 6858000"/>
              <a:gd name="connsiteX685" fmla="*/ 3717826 w 5794893"/>
              <a:gd name="connsiteY685" fmla="*/ 1644498 h 6858000"/>
              <a:gd name="connsiteX686" fmla="*/ 3717826 w 5794893"/>
              <a:gd name="connsiteY686" fmla="*/ 1645726 h 6858000"/>
              <a:gd name="connsiteX687" fmla="*/ 5622828 w 5794893"/>
              <a:gd name="connsiteY687" fmla="*/ 1685055 h 6858000"/>
              <a:gd name="connsiteX688" fmla="*/ 3717826 w 5794893"/>
              <a:gd name="connsiteY688" fmla="*/ 1685055 h 6858000"/>
              <a:gd name="connsiteX689" fmla="*/ 3719056 w 5794893"/>
              <a:gd name="connsiteY689" fmla="*/ 1686285 h 6858000"/>
              <a:gd name="connsiteX690" fmla="*/ 3601069 w 5794893"/>
              <a:gd name="connsiteY690" fmla="*/ 1683827 h 6858000"/>
              <a:gd name="connsiteX691" fmla="*/ 3601069 w 5794893"/>
              <a:gd name="connsiteY691" fmla="*/ 1687513 h 6858000"/>
              <a:gd name="connsiteX692" fmla="*/ 3483081 w 5794893"/>
              <a:gd name="connsiteY692" fmla="*/ 1683827 h 6858000"/>
              <a:gd name="connsiteX693" fmla="*/ 3483081 w 5794893"/>
              <a:gd name="connsiteY693" fmla="*/ 1689971 h 6858000"/>
              <a:gd name="connsiteX694" fmla="*/ 3365094 w 5794893"/>
              <a:gd name="connsiteY694" fmla="*/ 1683827 h 6858000"/>
              <a:gd name="connsiteX695" fmla="*/ 3365094 w 5794893"/>
              <a:gd name="connsiteY695" fmla="*/ 1692429 h 6858000"/>
              <a:gd name="connsiteX696" fmla="*/ 3247107 w 5794893"/>
              <a:gd name="connsiteY696" fmla="*/ 1683827 h 6858000"/>
              <a:gd name="connsiteX697" fmla="*/ 3247107 w 5794893"/>
              <a:gd name="connsiteY697" fmla="*/ 1694887 h 6858000"/>
              <a:gd name="connsiteX698" fmla="*/ 3129120 w 5794893"/>
              <a:gd name="connsiteY698" fmla="*/ 1683827 h 6858000"/>
              <a:gd name="connsiteX699" fmla="*/ 3127890 w 5794893"/>
              <a:gd name="connsiteY699" fmla="*/ 1698575 h 6858000"/>
              <a:gd name="connsiteX700" fmla="*/ 3009903 w 5794893"/>
              <a:gd name="connsiteY700" fmla="*/ 1683827 h 6858000"/>
              <a:gd name="connsiteX701" fmla="*/ 3008674 w 5794893"/>
              <a:gd name="connsiteY701" fmla="*/ 1701033 h 6858000"/>
              <a:gd name="connsiteX702" fmla="*/ 2891916 w 5794893"/>
              <a:gd name="connsiteY702" fmla="*/ 1683827 h 6858000"/>
              <a:gd name="connsiteX703" fmla="*/ 2889458 w 5794893"/>
              <a:gd name="connsiteY703" fmla="*/ 1704720 h 6858000"/>
              <a:gd name="connsiteX704" fmla="*/ 2773928 w 5794893"/>
              <a:gd name="connsiteY704" fmla="*/ 1683827 h 6858000"/>
              <a:gd name="connsiteX705" fmla="*/ 2770242 w 5794893"/>
              <a:gd name="connsiteY705" fmla="*/ 1707178 h 6858000"/>
              <a:gd name="connsiteX706" fmla="*/ 2655941 w 5794893"/>
              <a:gd name="connsiteY706" fmla="*/ 1683827 h 6858000"/>
              <a:gd name="connsiteX707" fmla="*/ 2651025 w 5794893"/>
              <a:gd name="connsiteY707" fmla="*/ 1710865 h 6858000"/>
              <a:gd name="connsiteX708" fmla="*/ 2537954 w 5794893"/>
              <a:gd name="connsiteY708" fmla="*/ 1683827 h 6858000"/>
              <a:gd name="connsiteX709" fmla="*/ 2531809 w 5794893"/>
              <a:gd name="connsiteY709" fmla="*/ 1714552 h 6858000"/>
              <a:gd name="connsiteX710" fmla="*/ 2419967 w 5794893"/>
              <a:gd name="connsiteY710" fmla="*/ 1683827 h 6858000"/>
              <a:gd name="connsiteX711" fmla="*/ 2412593 w 5794893"/>
              <a:gd name="connsiteY711" fmla="*/ 1719468 h 6858000"/>
              <a:gd name="connsiteX712" fmla="*/ 2301980 w 5794893"/>
              <a:gd name="connsiteY712" fmla="*/ 1683827 h 6858000"/>
              <a:gd name="connsiteX713" fmla="*/ 2292147 w 5794893"/>
              <a:gd name="connsiteY713" fmla="*/ 1723156 h 6858000"/>
              <a:gd name="connsiteX714" fmla="*/ 2183992 w 5794893"/>
              <a:gd name="connsiteY714" fmla="*/ 1683827 h 6858000"/>
              <a:gd name="connsiteX715" fmla="*/ 2171702 w 5794893"/>
              <a:gd name="connsiteY715" fmla="*/ 1728072 h 6858000"/>
              <a:gd name="connsiteX716" fmla="*/ 2066005 w 5794893"/>
              <a:gd name="connsiteY716" fmla="*/ 1683827 h 6858000"/>
              <a:gd name="connsiteX717" fmla="*/ 2050028 w 5794893"/>
              <a:gd name="connsiteY717" fmla="*/ 1732988 h 6858000"/>
              <a:gd name="connsiteX718" fmla="*/ 1948018 w 5794893"/>
              <a:gd name="connsiteY718" fmla="*/ 1683827 h 6858000"/>
              <a:gd name="connsiteX719" fmla="*/ 1928353 w 5794893"/>
              <a:gd name="connsiteY719" fmla="*/ 1736674 h 6858000"/>
              <a:gd name="connsiteX720" fmla="*/ 1830031 w 5794893"/>
              <a:gd name="connsiteY720" fmla="*/ 1683827 h 6858000"/>
              <a:gd name="connsiteX721" fmla="*/ 1805450 w 5794893"/>
              <a:gd name="connsiteY721" fmla="*/ 1741591 h 6858000"/>
              <a:gd name="connsiteX722" fmla="*/ 1712043 w 5794893"/>
              <a:gd name="connsiteY722" fmla="*/ 1683827 h 6858000"/>
              <a:gd name="connsiteX723" fmla="*/ 1682547 w 5794893"/>
              <a:gd name="connsiteY723" fmla="*/ 1745278 h 6858000"/>
              <a:gd name="connsiteX724" fmla="*/ 1594056 w 5794893"/>
              <a:gd name="connsiteY724" fmla="*/ 1683827 h 6858000"/>
              <a:gd name="connsiteX725" fmla="*/ 1558415 w 5794893"/>
              <a:gd name="connsiteY725" fmla="*/ 1747736 h 6858000"/>
              <a:gd name="connsiteX726" fmla="*/ 1685005 w 5794893"/>
              <a:gd name="connsiteY726" fmla="*/ 1836227 h 6858000"/>
              <a:gd name="connsiteX727" fmla="*/ 1718189 w 5794893"/>
              <a:gd name="connsiteY727" fmla="*/ 1776004 h 6858000"/>
              <a:gd name="connsiteX728" fmla="*/ 1815282 w 5794893"/>
              <a:gd name="connsiteY728" fmla="*/ 1836227 h 6858000"/>
              <a:gd name="connsiteX729" fmla="*/ 1842321 w 5794893"/>
              <a:gd name="connsiteY729" fmla="*/ 1779691 h 6858000"/>
              <a:gd name="connsiteX730" fmla="*/ 1945560 w 5794893"/>
              <a:gd name="connsiteY730" fmla="*/ 1836227 h 6858000"/>
              <a:gd name="connsiteX731" fmla="*/ 1967682 w 5794893"/>
              <a:gd name="connsiteY731" fmla="*/ 1784607 h 6858000"/>
              <a:gd name="connsiteX732" fmla="*/ 2075837 w 5794893"/>
              <a:gd name="connsiteY732" fmla="*/ 1836227 h 6858000"/>
              <a:gd name="connsiteX733" fmla="*/ 2093044 w 5794893"/>
              <a:gd name="connsiteY733" fmla="*/ 1789524 h 6858000"/>
              <a:gd name="connsiteX734" fmla="*/ 2204887 w 5794893"/>
              <a:gd name="connsiteY734" fmla="*/ 1836227 h 6858000"/>
              <a:gd name="connsiteX735" fmla="*/ 2218405 w 5794893"/>
              <a:gd name="connsiteY735" fmla="*/ 1793210 h 6858000"/>
              <a:gd name="connsiteX736" fmla="*/ 2333934 w 5794893"/>
              <a:gd name="connsiteY736" fmla="*/ 1836227 h 6858000"/>
              <a:gd name="connsiteX737" fmla="*/ 2344996 w 5794893"/>
              <a:gd name="connsiteY737" fmla="*/ 1798126 h 6858000"/>
              <a:gd name="connsiteX738" fmla="*/ 2464212 w 5794893"/>
              <a:gd name="connsiteY738" fmla="*/ 1836227 h 6858000"/>
              <a:gd name="connsiteX739" fmla="*/ 2472816 w 5794893"/>
              <a:gd name="connsiteY739" fmla="*/ 1801814 h 6858000"/>
              <a:gd name="connsiteX740" fmla="*/ 2593261 w 5794893"/>
              <a:gd name="connsiteY740" fmla="*/ 1836227 h 6858000"/>
              <a:gd name="connsiteX741" fmla="*/ 2599406 w 5794893"/>
              <a:gd name="connsiteY741" fmla="*/ 1806730 h 6858000"/>
              <a:gd name="connsiteX742" fmla="*/ 2722309 w 5794893"/>
              <a:gd name="connsiteY742" fmla="*/ 1836227 h 6858000"/>
              <a:gd name="connsiteX743" fmla="*/ 2727225 w 5794893"/>
              <a:gd name="connsiteY743" fmla="*/ 1810417 h 6858000"/>
              <a:gd name="connsiteX744" fmla="*/ 2852587 w 5794893"/>
              <a:gd name="connsiteY744" fmla="*/ 1836227 h 6858000"/>
              <a:gd name="connsiteX745" fmla="*/ 2856274 w 5794893"/>
              <a:gd name="connsiteY745" fmla="*/ 1814104 h 6858000"/>
              <a:gd name="connsiteX746" fmla="*/ 2982864 w 5794893"/>
              <a:gd name="connsiteY746" fmla="*/ 1836227 h 6858000"/>
              <a:gd name="connsiteX747" fmla="*/ 2985322 w 5794893"/>
              <a:gd name="connsiteY747" fmla="*/ 1817791 h 6858000"/>
              <a:gd name="connsiteX748" fmla="*/ 3111913 w 5794893"/>
              <a:gd name="connsiteY748" fmla="*/ 1836227 h 6858000"/>
              <a:gd name="connsiteX749" fmla="*/ 3113142 w 5794893"/>
              <a:gd name="connsiteY749" fmla="*/ 1820249 h 6858000"/>
              <a:gd name="connsiteX750" fmla="*/ 3240961 w 5794893"/>
              <a:gd name="connsiteY750" fmla="*/ 1836227 h 6858000"/>
              <a:gd name="connsiteX751" fmla="*/ 3242191 w 5794893"/>
              <a:gd name="connsiteY751" fmla="*/ 1823937 h 6858000"/>
              <a:gd name="connsiteX752" fmla="*/ 3371239 w 5794893"/>
              <a:gd name="connsiteY752" fmla="*/ 1836227 h 6858000"/>
              <a:gd name="connsiteX753" fmla="*/ 3372468 w 5794893"/>
              <a:gd name="connsiteY753" fmla="*/ 1826395 h 6858000"/>
              <a:gd name="connsiteX754" fmla="*/ 3501516 w 5794893"/>
              <a:gd name="connsiteY754" fmla="*/ 1836227 h 6858000"/>
              <a:gd name="connsiteX755" fmla="*/ 3501516 w 5794893"/>
              <a:gd name="connsiteY755" fmla="*/ 1828853 h 6858000"/>
              <a:gd name="connsiteX756" fmla="*/ 3630565 w 5794893"/>
              <a:gd name="connsiteY756" fmla="*/ 1836227 h 6858000"/>
              <a:gd name="connsiteX757" fmla="*/ 3630565 w 5794893"/>
              <a:gd name="connsiteY757" fmla="*/ 1831311 h 6858000"/>
              <a:gd name="connsiteX758" fmla="*/ 3639168 w 5794893"/>
              <a:gd name="connsiteY758" fmla="*/ 1831311 h 6858000"/>
              <a:gd name="connsiteX759" fmla="*/ 3719056 w 5794893"/>
              <a:gd name="connsiteY759" fmla="*/ 1833769 h 6858000"/>
              <a:gd name="connsiteX760" fmla="*/ 3719056 w 5794893"/>
              <a:gd name="connsiteY760" fmla="*/ 1834997 h 6858000"/>
              <a:gd name="connsiteX761" fmla="*/ 5597019 w 5794893"/>
              <a:gd name="connsiteY761" fmla="*/ 1874326 h 6858000"/>
              <a:gd name="connsiteX762" fmla="*/ 3720284 w 5794893"/>
              <a:gd name="connsiteY762" fmla="*/ 1874326 h 6858000"/>
              <a:gd name="connsiteX763" fmla="*/ 3720284 w 5794893"/>
              <a:gd name="connsiteY763" fmla="*/ 1876784 h 6858000"/>
              <a:gd name="connsiteX764" fmla="*/ 3602297 w 5794893"/>
              <a:gd name="connsiteY764" fmla="*/ 1874326 h 6858000"/>
              <a:gd name="connsiteX765" fmla="*/ 3602297 w 5794893"/>
              <a:gd name="connsiteY765" fmla="*/ 1878014 h 6858000"/>
              <a:gd name="connsiteX766" fmla="*/ 3484310 w 5794893"/>
              <a:gd name="connsiteY766" fmla="*/ 1874326 h 6858000"/>
              <a:gd name="connsiteX767" fmla="*/ 3484310 w 5794893"/>
              <a:gd name="connsiteY767" fmla="*/ 1880472 h 6858000"/>
              <a:gd name="connsiteX768" fmla="*/ 3366323 w 5794893"/>
              <a:gd name="connsiteY768" fmla="*/ 1874326 h 6858000"/>
              <a:gd name="connsiteX769" fmla="*/ 3366323 w 5794893"/>
              <a:gd name="connsiteY769" fmla="*/ 1882930 h 6858000"/>
              <a:gd name="connsiteX770" fmla="*/ 3248335 w 5794893"/>
              <a:gd name="connsiteY770" fmla="*/ 1874326 h 6858000"/>
              <a:gd name="connsiteX771" fmla="*/ 3248335 w 5794893"/>
              <a:gd name="connsiteY771" fmla="*/ 1885388 h 6858000"/>
              <a:gd name="connsiteX772" fmla="*/ 3130348 w 5794893"/>
              <a:gd name="connsiteY772" fmla="*/ 1874326 h 6858000"/>
              <a:gd name="connsiteX773" fmla="*/ 3129120 w 5794893"/>
              <a:gd name="connsiteY773" fmla="*/ 1889075 h 6858000"/>
              <a:gd name="connsiteX774" fmla="*/ 3011133 w 5794893"/>
              <a:gd name="connsiteY774" fmla="*/ 1874326 h 6858000"/>
              <a:gd name="connsiteX775" fmla="*/ 3009903 w 5794893"/>
              <a:gd name="connsiteY775" fmla="*/ 1891533 h 6858000"/>
              <a:gd name="connsiteX776" fmla="*/ 2893145 w 5794893"/>
              <a:gd name="connsiteY776" fmla="*/ 1874326 h 6858000"/>
              <a:gd name="connsiteX777" fmla="*/ 2890687 w 5794893"/>
              <a:gd name="connsiteY777" fmla="*/ 1895220 h 6858000"/>
              <a:gd name="connsiteX778" fmla="*/ 2775158 w 5794893"/>
              <a:gd name="connsiteY778" fmla="*/ 1874326 h 6858000"/>
              <a:gd name="connsiteX779" fmla="*/ 2771470 w 5794893"/>
              <a:gd name="connsiteY779" fmla="*/ 1898907 h 6858000"/>
              <a:gd name="connsiteX780" fmla="*/ 2657171 w 5794893"/>
              <a:gd name="connsiteY780" fmla="*/ 1874326 h 6858000"/>
              <a:gd name="connsiteX781" fmla="*/ 2652255 w 5794893"/>
              <a:gd name="connsiteY781" fmla="*/ 1901365 h 6858000"/>
              <a:gd name="connsiteX782" fmla="*/ 2539184 w 5794893"/>
              <a:gd name="connsiteY782" fmla="*/ 1874326 h 6858000"/>
              <a:gd name="connsiteX783" fmla="*/ 2533038 w 5794893"/>
              <a:gd name="connsiteY783" fmla="*/ 1906281 h 6858000"/>
              <a:gd name="connsiteX784" fmla="*/ 2421196 w 5794893"/>
              <a:gd name="connsiteY784" fmla="*/ 1874326 h 6858000"/>
              <a:gd name="connsiteX785" fmla="*/ 2413822 w 5794893"/>
              <a:gd name="connsiteY785" fmla="*/ 1909969 h 6858000"/>
              <a:gd name="connsiteX786" fmla="*/ 2303209 w 5794893"/>
              <a:gd name="connsiteY786" fmla="*/ 1874326 h 6858000"/>
              <a:gd name="connsiteX787" fmla="*/ 2293377 w 5794893"/>
              <a:gd name="connsiteY787" fmla="*/ 1913655 h 6858000"/>
              <a:gd name="connsiteX788" fmla="*/ 2185222 w 5794893"/>
              <a:gd name="connsiteY788" fmla="*/ 1874326 h 6858000"/>
              <a:gd name="connsiteX789" fmla="*/ 2172932 w 5794893"/>
              <a:gd name="connsiteY789" fmla="*/ 1918571 h 6858000"/>
              <a:gd name="connsiteX790" fmla="*/ 2067235 w 5794893"/>
              <a:gd name="connsiteY790" fmla="*/ 1874326 h 6858000"/>
              <a:gd name="connsiteX791" fmla="*/ 2051257 w 5794893"/>
              <a:gd name="connsiteY791" fmla="*/ 1923488 h 6858000"/>
              <a:gd name="connsiteX792" fmla="*/ 1949247 w 5794893"/>
              <a:gd name="connsiteY792" fmla="*/ 1874326 h 6858000"/>
              <a:gd name="connsiteX793" fmla="*/ 1929583 w 5794893"/>
              <a:gd name="connsiteY793" fmla="*/ 1927175 h 6858000"/>
              <a:gd name="connsiteX794" fmla="*/ 1831260 w 5794893"/>
              <a:gd name="connsiteY794" fmla="*/ 1874326 h 6858000"/>
              <a:gd name="connsiteX795" fmla="*/ 1806680 w 5794893"/>
              <a:gd name="connsiteY795" fmla="*/ 1932091 h 6858000"/>
              <a:gd name="connsiteX796" fmla="*/ 1713273 w 5794893"/>
              <a:gd name="connsiteY796" fmla="*/ 1874326 h 6858000"/>
              <a:gd name="connsiteX797" fmla="*/ 1683776 w 5794893"/>
              <a:gd name="connsiteY797" fmla="*/ 1937008 h 6858000"/>
              <a:gd name="connsiteX798" fmla="*/ 1595286 w 5794893"/>
              <a:gd name="connsiteY798" fmla="*/ 1874326 h 6858000"/>
              <a:gd name="connsiteX799" fmla="*/ 1559643 w 5794893"/>
              <a:gd name="connsiteY799" fmla="*/ 1938236 h 6858000"/>
              <a:gd name="connsiteX800" fmla="*/ 1686234 w 5794893"/>
              <a:gd name="connsiteY800" fmla="*/ 2026726 h 6858000"/>
              <a:gd name="connsiteX801" fmla="*/ 1719418 w 5794893"/>
              <a:gd name="connsiteY801" fmla="*/ 1966504 h 6858000"/>
              <a:gd name="connsiteX802" fmla="*/ 1816512 w 5794893"/>
              <a:gd name="connsiteY802" fmla="*/ 2026726 h 6858000"/>
              <a:gd name="connsiteX803" fmla="*/ 1843551 w 5794893"/>
              <a:gd name="connsiteY803" fmla="*/ 1971421 h 6858000"/>
              <a:gd name="connsiteX804" fmla="*/ 1944331 w 5794893"/>
              <a:gd name="connsiteY804" fmla="*/ 2029184 h 6858000"/>
              <a:gd name="connsiteX805" fmla="*/ 1966454 w 5794893"/>
              <a:gd name="connsiteY805" fmla="*/ 1977565 h 6858000"/>
              <a:gd name="connsiteX806" fmla="*/ 2074609 w 5794893"/>
              <a:gd name="connsiteY806" fmla="*/ 2029184 h 6858000"/>
              <a:gd name="connsiteX807" fmla="*/ 2091815 w 5794893"/>
              <a:gd name="connsiteY807" fmla="*/ 1982481 h 6858000"/>
              <a:gd name="connsiteX808" fmla="*/ 2203657 w 5794893"/>
              <a:gd name="connsiteY808" fmla="*/ 2029184 h 6858000"/>
              <a:gd name="connsiteX809" fmla="*/ 2217177 w 5794893"/>
              <a:gd name="connsiteY809" fmla="*/ 1986169 h 6858000"/>
              <a:gd name="connsiteX810" fmla="*/ 2332706 w 5794893"/>
              <a:gd name="connsiteY810" fmla="*/ 2029184 h 6858000"/>
              <a:gd name="connsiteX811" fmla="*/ 2343767 w 5794893"/>
              <a:gd name="connsiteY811" fmla="*/ 1991085 h 6858000"/>
              <a:gd name="connsiteX812" fmla="*/ 2462984 w 5794893"/>
              <a:gd name="connsiteY812" fmla="*/ 2029184 h 6858000"/>
              <a:gd name="connsiteX813" fmla="*/ 2471586 w 5794893"/>
              <a:gd name="connsiteY813" fmla="*/ 1994772 h 6858000"/>
              <a:gd name="connsiteX814" fmla="*/ 2593261 w 5794893"/>
              <a:gd name="connsiteY814" fmla="*/ 2029184 h 6858000"/>
              <a:gd name="connsiteX815" fmla="*/ 2599406 w 5794893"/>
              <a:gd name="connsiteY815" fmla="*/ 1999688 h 6858000"/>
              <a:gd name="connsiteX816" fmla="*/ 2722309 w 5794893"/>
              <a:gd name="connsiteY816" fmla="*/ 2029184 h 6858000"/>
              <a:gd name="connsiteX817" fmla="*/ 2727225 w 5794893"/>
              <a:gd name="connsiteY817" fmla="*/ 2003375 h 6858000"/>
              <a:gd name="connsiteX818" fmla="*/ 2852587 w 5794893"/>
              <a:gd name="connsiteY818" fmla="*/ 2029184 h 6858000"/>
              <a:gd name="connsiteX819" fmla="*/ 2856274 w 5794893"/>
              <a:gd name="connsiteY819" fmla="*/ 2007062 h 6858000"/>
              <a:gd name="connsiteX820" fmla="*/ 2982864 w 5794893"/>
              <a:gd name="connsiteY820" fmla="*/ 2029184 h 6858000"/>
              <a:gd name="connsiteX821" fmla="*/ 2985322 w 5794893"/>
              <a:gd name="connsiteY821" fmla="*/ 2010750 h 6858000"/>
              <a:gd name="connsiteX822" fmla="*/ 3111913 w 5794893"/>
              <a:gd name="connsiteY822" fmla="*/ 2029184 h 6858000"/>
              <a:gd name="connsiteX823" fmla="*/ 3113142 w 5794893"/>
              <a:gd name="connsiteY823" fmla="*/ 2013208 h 6858000"/>
              <a:gd name="connsiteX824" fmla="*/ 3240961 w 5794893"/>
              <a:gd name="connsiteY824" fmla="*/ 2029184 h 6858000"/>
              <a:gd name="connsiteX825" fmla="*/ 3242191 w 5794893"/>
              <a:gd name="connsiteY825" fmla="*/ 2016894 h 6858000"/>
              <a:gd name="connsiteX826" fmla="*/ 3371239 w 5794893"/>
              <a:gd name="connsiteY826" fmla="*/ 2029184 h 6858000"/>
              <a:gd name="connsiteX827" fmla="*/ 3372468 w 5794893"/>
              <a:gd name="connsiteY827" fmla="*/ 2019352 h 6858000"/>
              <a:gd name="connsiteX828" fmla="*/ 3501516 w 5794893"/>
              <a:gd name="connsiteY828" fmla="*/ 2029184 h 6858000"/>
              <a:gd name="connsiteX829" fmla="*/ 3501516 w 5794893"/>
              <a:gd name="connsiteY829" fmla="*/ 2021810 h 6858000"/>
              <a:gd name="connsiteX830" fmla="*/ 3630565 w 5794893"/>
              <a:gd name="connsiteY830" fmla="*/ 2029184 h 6858000"/>
              <a:gd name="connsiteX831" fmla="*/ 3630565 w 5794893"/>
              <a:gd name="connsiteY831" fmla="*/ 2024268 h 6858000"/>
              <a:gd name="connsiteX832" fmla="*/ 3639168 w 5794893"/>
              <a:gd name="connsiteY832" fmla="*/ 2024268 h 6858000"/>
              <a:gd name="connsiteX833" fmla="*/ 3719056 w 5794893"/>
              <a:gd name="connsiteY833" fmla="*/ 2026726 h 6858000"/>
              <a:gd name="connsiteX834" fmla="*/ 3719056 w 5794893"/>
              <a:gd name="connsiteY834" fmla="*/ 2027956 h 6858000"/>
              <a:gd name="connsiteX835" fmla="*/ 5506071 w 5794893"/>
              <a:gd name="connsiteY835" fmla="*/ 2064827 h 6858000"/>
              <a:gd name="connsiteX836" fmla="*/ 3720284 w 5794893"/>
              <a:gd name="connsiteY836" fmla="*/ 2064827 h 6858000"/>
              <a:gd name="connsiteX837" fmla="*/ 3720284 w 5794893"/>
              <a:gd name="connsiteY837" fmla="*/ 2067285 h 6858000"/>
              <a:gd name="connsiteX838" fmla="*/ 3602297 w 5794893"/>
              <a:gd name="connsiteY838" fmla="*/ 2064827 h 6858000"/>
              <a:gd name="connsiteX839" fmla="*/ 3602297 w 5794893"/>
              <a:gd name="connsiteY839" fmla="*/ 2068514 h 6858000"/>
              <a:gd name="connsiteX840" fmla="*/ 3484310 w 5794893"/>
              <a:gd name="connsiteY840" fmla="*/ 2064827 h 6858000"/>
              <a:gd name="connsiteX841" fmla="*/ 3484310 w 5794893"/>
              <a:gd name="connsiteY841" fmla="*/ 2070972 h 6858000"/>
              <a:gd name="connsiteX842" fmla="*/ 3366323 w 5794893"/>
              <a:gd name="connsiteY842" fmla="*/ 2064827 h 6858000"/>
              <a:gd name="connsiteX843" fmla="*/ 3366323 w 5794893"/>
              <a:gd name="connsiteY843" fmla="*/ 2073430 h 6858000"/>
              <a:gd name="connsiteX844" fmla="*/ 3248335 w 5794893"/>
              <a:gd name="connsiteY844" fmla="*/ 2064827 h 6858000"/>
              <a:gd name="connsiteX845" fmla="*/ 3248335 w 5794893"/>
              <a:gd name="connsiteY845" fmla="*/ 2075888 h 6858000"/>
              <a:gd name="connsiteX846" fmla="*/ 3130348 w 5794893"/>
              <a:gd name="connsiteY846" fmla="*/ 2064827 h 6858000"/>
              <a:gd name="connsiteX847" fmla="*/ 3129120 w 5794893"/>
              <a:gd name="connsiteY847" fmla="*/ 2079576 h 6858000"/>
              <a:gd name="connsiteX848" fmla="*/ 3011133 w 5794893"/>
              <a:gd name="connsiteY848" fmla="*/ 2064827 h 6858000"/>
              <a:gd name="connsiteX849" fmla="*/ 3009903 w 5794893"/>
              <a:gd name="connsiteY849" fmla="*/ 2082034 h 6858000"/>
              <a:gd name="connsiteX850" fmla="*/ 2893145 w 5794893"/>
              <a:gd name="connsiteY850" fmla="*/ 2064827 h 6858000"/>
              <a:gd name="connsiteX851" fmla="*/ 2890687 w 5794893"/>
              <a:gd name="connsiteY851" fmla="*/ 2085720 h 6858000"/>
              <a:gd name="connsiteX852" fmla="*/ 2775158 w 5794893"/>
              <a:gd name="connsiteY852" fmla="*/ 2064827 h 6858000"/>
              <a:gd name="connsiteX853" fmla="*/ 2771470 w 5794893"/>
              <a:gd name="connsiteY853" fmla="*/ 2088178 h 6858000"/>
              <a:gd name="connsiteX854" fmla="*/ 2657171 w 5794893"/>
              <a:gd name="connsiteY854" fmla="*/ 2064827 h 6858000"/>
              <a:gd name="connsiteX855" fmla="*/ 2652255 w 5794893"/>
              <a:gd name="connsiteY855" fmla="*/ 2091866 h 6858000"/>
              <a:gd name="connsiteX856" fmla="*/ 2539184 w 5794893"/>
              <a:gd name="connsiteY856" fmla="*/ 2064827 h 6858000"/>
              <a:gd name="connsiteX857" fmla="*/ 2533038 w 5794893"/>
              <a:gd name="connsiteY857" fmla="*/ 2096782 h 6858000"/>
              <a:gd name="connsiteX858" fmla="*/ 2421196 w 5794893"/>
              <a:gd name="connsiteY858" fmla="*/ 2064827 h 6858000"/>
              <a:gd name="connsiteX859" fmla="*/ 2413822 w 5794893"/>
              <a:gd name="connsiteY859" fmla="*/ 2100468 h 6858000"/>
              <a:gd name="connsiteX860" fmla="*/ 2303209 w 5794893"/>
              <a:gd name="connsiteY860" fmla="*/ 2064827 h 6858000"/>
              <a:gd name="connsiteX861" fmla="*/ 2293377 w 5794893"/>
              <a:gd name="connsiteY861" fmla="*/ 2104156 h 6858000"/>
              <a:gd name="connsiteX862" fmla="*/ 2185222 w 5794893"/>
              <a:gd name="connsiteY862" fmla="*/ 2064827 h 6858000"/>
              <a:gd name="connsiteX863" fmla="*/ 2172932 w 5794893"/>
              <a:gd name="connsiteY863" fmla="*/ 2109072 h 6858000"/>
              <a:gd name="connsiteX864" fmla="*/ 2067235 w 5794893"/>
              <a:gd name="connsiteY864" fmla="*/ 2064827 h 6858000"/>
              <a:gd name="connsiteX865" fmla="*/ 2051257 w 5794893"/>
              <a:gd name="connsiteY865" fmla="*/ 2113989 h 6858000"/>
              <a:gd name="connsiteX866" fmla="*/ 1949247 w 5794893"/>
              <a:gd name="connsiteY866" fmla="*/ 2064827 h 6858000"/>
              <a:gd name="connsiteX867" fmla="*/ 1929583 w 5794893"/>
              <a:gd name="connsiteY867" fmla="*/ 2117675 h 6858000"/>
              <a:gd name="connsiteX868" fmla="*/ 1831260 w 5794893"/>
              <a:gd name="connsiteY868" fmla="*/ 2064827 h 6858000"/>
              <a:gd name="connsiteX869" fmla="*/ 1806680 w 5794893"/>
              <a:gd name="connsiteY869" fmla="*/ 2122591 h 6858000"/>
              <a:gd name="connsiteX870" fmla="*/ 1713273 w 5794893"/>
              <a:gd name="connsiteY870" fmla="*/ 2064827 h 6858000"/>
              <a:gd name="connsiteX871" fmla="*/ 1683776 w 5794893"/>
              <a:gd name="connsiteY871" fmla="*/ 2127507 h 6858000"/>
              <a:gd name="connsiteX872" fmla="*/ 1595286 w 5794893"/>
              <a:gd name="connsiteY872" fmla="*/ 2064827 h 6858000"/>
              <a:gd name="connsiteX873" fmla="*/ 1559643 w 5794893"/>
              <a:gd name="connsiteY873" fmla="*/ 2128737 h 6858000"/>
              <a:gd name="connsiteX874" fmla="*/ 1685005 w 5794893"/>
              <a:gd name="connsiteY874" fmla="*/ 2217227 h 6858000"/>
              <a:gd name="connsiteX875" fmla="*/ 1718189 w 5794893"/>
              <a:gd name="connsiteY875" fmla="*/ 2157004 h 6858000"/>
              <a:gd name="connsiteX876" fmla="*/ 1815282 w 5794893"/>
              <a:gd name="connsiteY876" fmla="*/ 2217227 h 6858000"/>
              <a:gd name="connsiteX877" fmla="*/ 1842321 w 5794893"/>
              <a:gd name="connsiteY877" fmla="*/ 2161920 h 6858000"/>
              <a:gd name="connsiteX878" fmla="*/ 1945560 w 5794893"/>
              <a:gd name="connsiteY878" fmla="*/ 2217227 h 6858000"/>
              <a:gd name="connsiteX879" fmla="*/ 1967682 w 5794893"/>
              <a:gd name="connsiteY879" fmla="*/ 2165608 h 6858000"/>
              <a:gd name="connsiteX880" fmla="*/ 2075837 w 5794893"/>
              <a:gd name="connsiteY880" fmla="*/ 2217227 h 6858000"/>
              <a:gd name="connsiteX881" fmla="*/ 2093044 w 5794893"/>
              <a:gd name="connsiteY881" fmla="*/ 2170524 h 6858000"/>
              <a:gd name="connsiteX882" fmla="*/ 2204887 w 5794893"/>
              <a:gd name="connsiteY882" fmla="*/ 2217227 h 6858000"/>
              <a:gd name="connsiteX883" fmla="*/ 2218405 w 5794893"/>
              <a:gd name="connsiteY883" fmla="*/ 2174211 h 6858000"/>
              <a:gd name="connsiteX884" fmla="*/ 2333934 w 5794893"/>
              <a:gd name="connsiteY884" fmla="*/ 2217227 h 6858000"/>
              <a:gd name="connsiteX885" fmla="*/ 2344996 w 5794893"/>
              <a:gd name="connsiteY885" fmla="*/ 2179127 h 6858000"/>
              <a:gd name="connsiteX886" fmla="*/ 2464212 w 5794893"/>
              <a:gd name="connsiteY886" fmla="*/ 2217227 h 6858000"/>
              <a:gd name="connsiteX887" fmla="*/ 2472816 w 5794893"/>
              <a:gd name="connsiteY887" fmla="*/ 2182814 h 6858000"/>
              <a:gd name="connsiteX888" fmla="*/ 2593261 w 5794893"/>
              <a:gd name="connsiteY888" fmla="*/ 2217227 h 6858000"/>
              <a:gd name="connsiteX889" fmla="*/ 2594490 w 5794893"/>
              <a:gd name="connsiteY889" fmla="*/ 2188959 h 6858000"/>
              <a:gd name="connsiteX890" fmla="*/ 2717393 w 5794893"/>
              <a:gd name="connsiteY890" fmla="*/ 2218456 h 6858000"/>
              <a:gd name="connsiteX891" fmla="*/ 2722309 w 5794893"/>
              <a:gd name="connsiteY891" fmla="*/ 2192647 h 6858000"/>
              <a:gd name="connsiteX892" fmla="*/ 2847670 w 5794893"/>
              <a:gd name="connsiteY892" fmla="*/ 2218456 h 6858000"/>
              <a:gd name="connsiteX893" fmla="*/ 2851358 w 5794893"/>
              <a:gd name="connsiteY893" fmla="*/ 2196333 h 6858000"/>
              <a:gd name="connsiteX894" fmla="*/ 2977948 w 5794893"/>
              <a:gd name="connsiteY894" fmla="*/ 2218456 h 6858000"/>
              <a:gd name="connsiteX895" fmla="*/ 2980406 w 5794893"/>
              <a:gd name="connsiteY895" fmla="*/ 2200021 h 6858000"/>
              <a:gd name="connsiteX896" fmla="*/ 3106997 w 5794893"/>
              <a:gd name="connsiteY896" fmla="*/ 2218456 h 6858000"/>
              <a:gd name="connsiteX897" fmla="*/ 3109455 w 5794893"/>
              <a:gd name="connsiteY897" fmla="*/ 2202479 h 6858000"/>
              <a:gd name="connsiteX898" fmla="*/ 3237275 w 5794893"/>
              <a:gd name="connsiteY898" fmla="*/ 2218456 h 6858000"/>
              <a:gd name="connsiteX899" fmla="*/ 3238503 w 5794893"/>
              <a:gd name="connsiteY899" fmla="*/ 2206165 h 6858000"/>
              <a:gd name="connsiteX900" fmla="*/ 3367552 w 5794893"/>
              <a:gd name="connsiteY900" fmla="*/ 2218456 h 6858000"/>
              <a:gd name="connsiteX901" fmla="*/ 3368781 w 5794893"/>
              <a:gd name="connsiteY901" fmla="*/ 2208623 h 6858000"/>
              <a:gd name="connsiteX902" fmla="*/ 3497830 w 5794893"/>
              <a:gd name="connsiteY902" fmla="*/ 2218456 h 6858000"/>
              <a:gd name="connsiteX903" fmla="*/ 3497830 w 5794893"/>
              <a:gd name="connsiteY903" fmla="*/ 2211082 h 6858000"/>
              <a:gd name="connsiteX904" fmla="*/ 3626878 w 5794893"/>
              <a:gd name="connsiteY904" fmla="*/ 2218456 h 6858000"/>
              <a:gd name="connsiteX905" fmla="*/ 3626878 w 5794893"/>
              <a:gd name="connsiteY905" fmla="*/ 2213540 h 6858000"/>
              <a:gd name="connsiteX906" fmla="*/ 3635482 w 5794893"/>
              <a:gd name="connsiteY906" fmla="*/ 2213540 h 6858000"/>
              <a:gd name="connsiteX907" fmla="*/ 3715368 w 5794893"/>
              <a:gd name="connsiteY907" fmla="*/ 2215998 h 6858000"/>
              <a:gd name="connsiteX908" fmla="*/ 3715368 w 5794893"/>
              <a:gd name="connsiteY908" fmla="*/ 2217227 h 6858000"/>
              <a:gd name="connsiteX909" fmla="*/ 5479032 w 5794893"/>
              <a:gd name="connsiteY909" fmla="*/ 2254098 h 6858000"/>
              <a:gd name="connsiteX910" fmla="*/ 3716598 w 5794893"/>
              <a:gd name="connsiteY910" fmla="*/ 2254098 h 6858000"/>
              <a:gd name="connsiteX911" fmla="*/ 3716598 w 5794893"/>
              <a:gd name="connsiteY911" fmla="*/ 2256556 h 6858000"/>
              <a:gd name="connsiteX912" fmla="*/ 3598611 w 5794893"/>
              <a:gd name="connsiteY912" fmla="*/ 2254098 h 6858000"/>
              <a:gd name="connsiteX913" fmla="*/ 3598611 w 5794893"/>
              <a:gd name="connsiteY913" fmla="*/ 2257785 h 6858000"/>
              <a:gd name="connsiteX914" fmla="*/ 3480623 w 5794893"/>
              <a:gd name="connsiteY914" fmla="*/ 2254098 h 6858000"/>
              <a:gd name="connsiteX915" fmla="*/ 3480623 w 5794893"/>
              <a:gd name="connsiteY915" fmla="*/ 2260243 h 6858000"/>
              <a:gd name="connsiteX916" fmla="*/ 3362636 w 5794893"/>
              <a:gd name="connsiteY916" fmla="*/ 2254098 h 6858000"/>
              <a:gd name="connsiteX917" fmla="*/ 3362636 w 5794893"/>
              <a:gd name="connsiteY917" fmla="*/ 2262701 h 6858000"/>
              <a:gd name="connsiteX918" fmla="*/ 3244649 w 5794893"/>
              <a:gd name="connsiteY918" fmla="*/ 2254098 h 6858000"/>
              <a:gd name="connsiteX919" fmla="*/ 3244649 w 5794893"/>
              <a:gd name="connsiteY919" fmla="*/ 2270075 h 6858000"/>
              <a:gd name="connsiteX920" fmla="*/ 3127890 w 5794893"/>
              <a:gd name="connsiteY920" fmla="*/ 2259014 h 6858000"/>
              <a:gd name="connsiteX921" fmla="*/ 3126662 w 5794893"/>
              <a:gd name="connsiteY921" fmla="*/ 2273763 h 6858000"/>
              <a:gd name="connsiteX922" fmla="*/ 3008674 w 5794893"/>
              <a:gd name="connsiteY922" fmla="*/ 2259014 h 6858000"/>
              <a:gd name="connsiteX923" fmla="*/ 3007445 w 5794893"/>
              <a:gd name="connsiteY923" fmla="*/ 2276221 h 6858000"/>
              <a:gd name="connsiteX924" fmla="*/ 2890687 w 5794893"/>
              <a:gd name="connsiteY924" fmla="*/ 2259014 h 6858000"/>
              <a:gd name="connsiteX925" fmla="*/ 2888229 w 5794893"/>
              <a:gd name="connsiteY925" fmla="*/ 2279907 h 6858000"/>
              <a:gd name="connsiteX926" fmla="*/ 2772700 w 5794893"/>
              <a:gd name="connsiteY926" fmla="*/ 2259014 h 6858000"/>
              <a:gd name="connsiteX927" fmla="*/ 2769012 w 5794893"/>
              <a:gd name="connsiteY927" fmla="*/ 2282365 h 6858000"/>
              <a:gd name="connsiteX928" fmla="*/ 2654713 w 5794893"/>
              <a:gd name="connsiteY928" fmla="*/ 2259014 h 6858000"/>
              <a:gd name="connsiteX929" fmla="*/ 2649797 w 5794893"/>
              <a:gd name="connsiteY929" fmla="*/ 2286053 h 6858000"/>
              <a:gd name="connsiteX930" fmla="*/ 2536726 w 5794893"/>
              <a:gd name="connsiteY930" fmla="*/ 2259014 h 6858000"/>
              <a:gd name="connsiteX931" fmla="*/ 2530580 w 5794893"/>
              <a:gd name="connsiteY931" fmla="*/ 2289740 h 6858000"/>
              <a:gd name="connsiteX932" fmla="*/ 2418738 w 5794893"/>
              <a:gd name="connsiteY932" fmla="*/ 2259014 h 6858000"/>
              <a:gd name="connsiteX933" fmla="*/ 2411364 w 5794893"/>
              <a:gd name="connsiteY933" fmla="*/ 2294656 h 6858000"/>
              <a:gd name="connsiteX934" fmla="*/ 2300751 w 5794893"/>
              <a:gd name="connsiteY934" fmla="*/ 2259014 h 6858000"/>
              <a:gd name="connsiteX935" fmla="*/ 2290919 w 5794893"/>
              <a:gd name="connsiteY935" fmla="*/ 2298344 h 6858000"/>
              <a:gd name="connsiteX936" fmla="*/ 2182764 w 5794893"/>
              <a:gd name="connsiteY936" fmla="*/ 2259014 h 6858000"/>
              <a:gd name="connsiteX937" fmla="*/ 2170474 w 5794893"/>
              <a:gd name="connsiteY937" fmla="*/ 2303260 h 6858000"/>
              <a:gd name="connsiteX938" fmla="*/ 2064777 w 5794893"/>
              <a:gd name="connsiteY938" fmla="*/ 2259014 h 6858000"/>
              <a:gd name="connsiteX939" fmla="*/ 2048799 w 5794893"/>
              <a:gd name="connsiteY939" fmla="*/ 2308176 h 6858000"/>
              <a:gd name="connsiteX940" fmla="*/ 1946789 w 5794893"/>
              <a:gd name="connsiteY940" fmla="*/ 2259014 h 6858000"/>
              <a:gd name="connsiteX941" fmla="*/ 1927125 w 5794893"/>
              <a:gd name="connsiteY941" fmla="*/ 2311862 h 6858000"/>
              <a:gd name="connsiteX942" fmla="*/ 1828802 w 5794893"/>
              <a:gd name="connsiteY942" fmla="*/ 2259014 h 6858000"/>
              <a:gd name="connsiteX943" fmla="*/ 1804221 w 5794893"/>
              <a:gd name="connsiteY943" fmla="*/ 2316778 h 6858000"/>
              <a:gd name="connsiteX944" fmla="*/ 1710815 w 5794893"/>
              <a:gd name="connsiteY944" fmla="*/ 2259014 h 6858000"/>
              <a:gd name="connsiteX945" fmla="*/ 1681318 w 5794893"/>
              <a:gd name="connsiteY945" fmla="*/ 2320466 h 6858000"/>
              <a:gd name="connsiteX946" fmla="*/ 1592828 w 5794893"/>
              <a:gd name="connsiteY946" fmla="*/ 2259014 h 6858000"/>
              <a:gd name="connsiteX947" fmla="*/ 1558938 w 5794893"/>
              <a:gd name="connsiteY947" fmla="*/ 2319780 h 6858000"/>
              <a:gd name="connsiteX948" fmla="*/ 1477299 w 5794893"/>
              <a:gd name="connsiteY948" fmla="*/ 2255327 h 6858000"/>
              <a:gd name="connsiteX949" fmla="*/ 1440428 w 5794893"/>
              <a:gd name="connsiteY949" fmla="*/ 2314320 h 6858000"/>
              <a:gd name="connsiteX950" fmla="*/ 1557185 w 5794893"/>
              <a:gd name="connsiteY950" fmla="*/ 2407727 h 6858000"/>
              <a:gd name="connsiteX951" fmla="*/ 1593545 w 5794893"/>
              <a:gd name="connsiteY951" fmla="*/ 2348341 h 6858000"/>
              <a:gd name="connsiteX952" fmla="*/ 1683776 w 5794893"/>
              <a:gd name="connsiteY952" fmla="*/ 2411415 h 6858000"/>
              <a:gd name="connsiteX953" fmla="*/ 1716959 w 5794893"/>
              <a:gd name="connsiteY953" fmla="*/ 2351191 h 6858000"/>
              <a:gd name="connsiteX954" fmla="*/ 1814054 w 5794893"/>
              <a:gd name="connsiteY954" fmla="*/ 2411415 h 6858000"/>
              <a:gd name="connsiteX955" fmla="*/ 1841092 w 5794893"/>
              <a:gd name="connsiteY955" fmla="*/ 2356107 h 6858000"/>
              <a:gd name="connsiteX956" fmla="*/ 1944331 w 5794893"/>
              <a:gd name="connsiteY956" fmla="*/ 2411415 h 6858000"/>
              <a:gd name="connsiteX957" fmla="*/ 1966454 w 5794893"/>
              <a:gd name="connsiteY957" fmla="*/ 2359795 h 6858000"/>
              <a:gd name="connsiteX958" fmla="*/ 2074609 w 5794893"/>
              <a:gd name="connsiteY958" fmla="*/ 2411415 h 6858000"/>
              <a:gd name="connsiteX959" fmla="*/ 2091815 w 5794893"/>
              <a:gd name="connsiteY959" fmla="*/ 2364711 h 6858000"/>
              <a:gd name="connsiteX960" fmla="*/ 2203657 w 5794893"/>
              <a:gd name="connsiteY960" fmla="*/ 2411415 h 6858000"/>
              <a:gd name="connsiteX961" fmla="*/ 2217177 w 5794893"/>
              <a:gd name="connsiteY961" fmla="*/ 2368398 h 6858000"/>
              <a:gd name="connsiteX962" fmla="*/ 2332706 w 5794893"/>
              <a:gd name="connsiteY962" fmla="*/ 2411415 h 6858000"/>
              <a:gd name="connsiteX963" fmla="*/ 2343767 w 5794893"/>
              <a:gd name="connsiteY963" fmla="*/ 2373314 h 6858000"/>
              <a:gd name="connsiteX964" fmla="*/ 2462984 w 5794893"/>
              <a:gd name="connsiteY964" fmla="*/ 2411415 h 6858000"/>
              <a:gd name="connsiteX965" fmla="*/ 2471586 w 5794893"/>
              <a:gd name="connsiteY965" fmla="*/ 2377002 h 6858000"/>
              <a:gd name="connsiteX966" fmla="*/ 2593261 w 5794893"/>
              <a:gd name="connsiteY966" fmla="*/ 2411415 h 6858000"/>
              <a:gd name="connsiteX967" fmla="*/ 2599406 w 5794893"/>
              <a:gd name="connsiteY967" fmla="*/ 2381918 h 6858000"/>
              <a:gd name="connsiteX968" fmla="*/ 2722309 w 5794893"/>
              <a:gd name="connsiteY968" fmla="*/ 2411415 h 6858000"/>
              <a:gd name="connsiteX969" fmla="*/ 2727225 w 5794893"/>
              <a:gd name="connsiteY969" fmla="*/ 2385604 h 6858000"/>
              <a:gd name="connsiteX970" fmla="*/ 2851358 w 5794893"/>
              <a:gd name="connsiteY970" fmla="*/ 2411415 h 6858000"/>
              <a:gd name="connsiteX971" fmla="*/ 2855045 w 5794893"/>
              <a:gd name="connsiteY971" fmla="*/ 2389292 h 6858000"/>
              <a:gd name="connsiteX972" fmla="*/ 2981636 w 5794893"/>
              <a:gd name="connsiteY972" fmla="*/ 2411415 h 6858000"/>
              <a:gd name="connsiteX973" fmla="*/ 2984094 w 5794893"/>
              <a:gd name="connsiteY973" fmla="*/ 2392978 h 6858000"/>
              <a:gd name="connsiteX974" fmla="*/ 3110684 w 5794893"/>
              <a:gd name="connsiteY974" fmla="*/ 2411415 h 6858000"/>
              <a:gd name="connsiteX975" fmla="*/ 3111913 w 5794893"/>
              <a:gd name="connsiteY975" fmla="*/ 2395437 h 6858000"/>
              <a:gd name="connsiteX976" fmla="*/ 3239733 w 5794893"/>
              <a:gd name="connsiteY976" fmla="*/ 2411415 h 6858000"/>
              <a:gd name="connsiteX977" fmla="*/ 3240961 w 5794893"/>
              <a:gd name="connsiteY977" fmla="*/ 2399124 h 6858000"/>
              <a:gd name="connsiteX978" fmla="*/ 3370010 w 5794893"/>
              <a:gd name="connsiteY978" fmla="*/ 2411415 h 6858000"/>
              <a:gd name="connsiteX979" fmla="*/ 3371239 w 5794893"/>
              <a:gd name="connsiteY979" fmla="*/ 2401582 h 6858000"/>
              <a:gd name="connsiteX980" fmla="*/ 3500288 w 5794893"/>
              <a:gd name="connsiteY980" fmla="*/ 2411415 h 6858000"/>
              <a:gd name="connsiteX981" fmla="*/ 3500288 w 5794893"/>
              <a:gd name="connsiteY981" fmla="*/ 2404040 h 6858000"/>
              <a:gd name="connsiteX982" fmla="*/ 3629336 w 5794893"/>
              <a:gd name="connsiteY982" fmla="*/ 2411415 h 6858000"/>
              <a:gd name="connsiteX983" fmla="*/ 3629336 w 5794893"/>
              <a:gd name="connsiteY983" fmla="*/ 2406498 h 6858000"/>
              <a:gd name="connsiteX984" fmla="*/ 3637940 w 5794893"/>
              <a:gd name="connsiteY984" fmla="*/ 2406498 h 6858000"/>
              <a:gd name="connsiteX985" fmla="*/ 3717826 w 5794893"/>
              <a:gd name="connsiteY985" fmla="*/ 2408957 h 6858000"/>
              <a:gd name="connsiteX986" fmla="*/ 3717826 w 5794893"/>
              <a:gd name="connsiteY986" fmla="*/ 2410185 h 6858000"/>
              <a:gd name="connsiteX987" fmla="*/ 5673219 w 5794893"/>
              <a:gd name="connsiteY987" fmla="*/ 2450744 h 6858000"/>
              <a:gd name="connsiteX988" fmla="*/ 3717826 w 5794893"/>
              <a:gd name="connsiteY988" fmla="*/ 2450744 h 6858000"/>
              <a:gd name="connsiteX989" fmla="*/ 3719056 w 5794893"/>
              <a:gd name="connsiteY989" fmla="*/ 2453202 h 6858000"/>
              <a:gd name="connsiteX990" fmla="*/ 3601069 w 5794893"/>
              <a:gd name="connsiteY990" fmla="*/ 2450744 h 6858000"/>
              <a:gd name="connsiteX991" fmla="*/ 3601069 w 5794893"/>
              <a:gd name="connsiteY991" fmla="*/ 2454430 h 6858000"/>
              <a:gd name="connsiteX992" fmla="*/ 3483081 w 5794893"/>
              <a:gd name="connsiteY992" fmla="*/ 2450744 h 6858000"/>
              <a:gd name="connsiteX993" fmla="*/ 3483081 w 5794893"/>
              <a:gd name="connsiteY993" fmla="*/ 2456888 h 6858000"/>
              <a:gd name="connsiteX994" fmla="*/ 3365094 w 5794893"/>
              <a:gd name="connsiteY994" fmla="*/ 2450744 h 6858000"/>
              <a:gd name="connsiteX995" fmla="*/ 3365094 w 5794893"/>
              <a:gd name="connsiteY995" fmla="*/ 2459346 h 6858000"/>
              <a:gd name="connsiteX996" fmla="*/ 3247107 w 5794893"/>
              <a:gd name="connsiteY996" fmla="*/ 2450744 h 6858000"/>
              <a:gd name="connsiteX997" fmla="*/ 3247107 w 5794893"/>
              <a:gd name="connsiteY997" fmla="*/ 2461804 h 6858000"/>
              <a:gd name="connsiteX998" fmla="*/ 3129120 w 5794893"/>
              <a:gd name="connsiteY998" fmla="*/ 2450744 h 6858000"/>
              <a:gd name="connsiteX999" fmla="*/ 3127890 w 5794893"/>
              <a:gd name="connsiteY999" fmla="*/ 2465492 h 6858000"/>
              <a:gd name="connsiteX1000" fmla="*/ 3009903 w 5794893"/>
              <a:gd name="connsiteY1000" fmla="*/ 2450744 h 6858000"/>
              <a:gd name="connsiteX1001" fmla="*/ 3008674 w 5794893"/>
              <a:gd name="connsiteY1001" fmla="*/ 2467950 h 6858000"/>
              <a:gd name="connsiteX1002" fmla="*/ 2891916 w 5794893"/>
              <a:gd name="connsiteY1002" fmla="*/ 2450744 h 6858000"/>
              <a:gd name="connsiteX1003" fmla="*/ 2889458 w 5794893"/>
              <a:gd name="connsiteY1003" fmla="*/ 2471637 h 6858000"/>
              <a:gd name="connsiteX1004" fmla="*/ 2773928 w 5794893"/>
              <a:gd name="connsiteY1004" fmla="*/ 2450744 h 6858000"/>
              <a:gd name="connsiteX1005" fmla="*/ 2770242 w 5794893"/>
              <a:gd name="connsiteY1005" fmla="*/ 2474095 h 6858000"/>
              <a:gd name="connsiteX1006" fmla="*/ 2655941 w 5794893"/>
              <a:gd name="connsiteY1006" fmla="*/ 2450744 h 6858000"/>
              <a:gd name="connsiteX1007" fmla="*/ 2651025 w 5794893"/>
              <a:gd name="connsiteY1007" fmla="*/ 2477782 h 6858000"/>
              <a:gd name="connsiteX1008" fmla="*/ 2537954 w 5794893"/>
              <a:gd name="connsiteY1008" fmla="*/ 2450744 h 6858000"/>
              <a:gd name="connsiteX1009" fmla="*/ 2531809 w 5794893"/>
              <a:gd name="connsiteY1009" fmla="*/ 2481469 h 6858000"/>
              <a:gd name="connsiteX1010" fmla="*/ 2419967 w 5794893"/>
              <a:gd name="connsiteY1010" fmla="*/ 2450744 h 6858000"/>
              <a:gd name="connsiteX1011" fmla="*/ 2412593 w 5794893"/>
              <a:gd name="connsiteY1011" fmla="*/ 2486385 h 6858000"/>
              <a:gd name="connsiteX1012" fmla="*/ 2301980 w 5794893"/>
              <a:gd name="connsiteY1012" fmla="*/ 2450744 h 6858000"/>
              <a:gd name="connsiteX1013" fmla="*/ 2292147 w 5794893"/>
              <a:gd name="connsiteY1013" fmla="*/ 2490073 h 6858000"/>
              <a:gd name="connsiteX1014" fmla="*/ 2183992 w 5794893"/>
              <a:gd name="connsiteY1014" fmla="*/ 2450744 h 6858000"/>
              <a:gd name="connsiteX1015" fmla="*/ 2171702 w 5794893"/>
              <a:gd name="connsiteY1015" fmla="*/ 2494989 h 6858000"/>
              <a:gd name="connsiteX1016" fmla="*/ 2066005 w 5794893"/>
              <a:gd name="connsiteY1016" fmla="*/ 2450744 h 6858000"/>
              <a:gd name="connsiteX1017" fmla="*/ 2050028 w 5794893"/>
              <a:gd name="connsiteY1017" fmla="*/ 2499905 h 6858000"/>
              <a:gd name="connsiteX1018" fmla="*/ 1948018 w 5794893"/>
              <a:gd name="connsiteY1018" fmla="*/ 2450744 h 6858000"/>
              <a:gd name="connsiteX1019" fmla="*/ 1928353 w 5794893"/>
              <a:gd name="connsiteY1019" fmla="*/ 2503592 h 6858000"/>
              <a:gd name="connsiteX1020" fmla="*/ 1830031 w 5794893"/>
              <a:gd name="connsiteY1020" fmla="*/ 2450744 h 6858000"/>
              <a:gd name="connsiteX1021" fmla="*/ 1805450 w 5794893"/>
              <a:gd name="connsiteY1021" fmla="*/ 2508508 h 6858000"/>
              <a:gd name="connsiteX1022" fmla="*/ 1712043 w 5794893"/>
              <a:gd name="connsiteY1022" fmla="*/ 2450744 h 6858000"/>
              <a:gd name="connsiteX1023" fmla="*/ 1682547 w 5794893"/>
              <a:gd name="connsiteY1023" fmla="*/ 2513424 h 6858000"/>
              <a:gd name="connsiteX1024" fmla="*/ 1594056 w 5794893"/>
              <a:gd name="connsiteY1024" fmla="*/ 2450744 h 6858000"/>
              <a:gd name="connsiteX1025" fmla="*/ 1558983 w 5794893"/>
              <a:gd name="connsiteY1025" fmla="*/ 2513634 h 6858000"/>
              <a:gd name="connsiteX1026" fmla="*/ 1477299 w 5794893"/>
              <a:gd name="connsiteY1026" fmla="*/ 2448286 h 6858000"/>
              <a:gd name="connsiteX1027" fmla="*/ 1440428 w 5794893"/>
              <a:gd name="connsiteY1027" fmla="*/ 2507279 h 6858000"/>
              <a:gd name="connsiteX1028" fmla="*/ 1557185 w 5794893"/>
              <a:gd name="connsiteY1028" fmla="*/ 2600686 h 6858000"/>
              <a:gd name="connsiteX1029" fmla="*/ 1594056 w 5794893"/>
              <a:gd name="connsiteY1029" fmla="*/ 2541692 h 6858000"/>
              <a:gd name="connsiteX1030" fmla="*/ 1573013 w 5794893"/>
              <a:gd name="connsiteY1030" fmla="*/ 2524858 h 6858000"/>
              <a:gd name="connsiteX1031" fmla="*/ 1685005 w 5794893"/>
              <a:gd name="connsiteY1031" fmla="*/ 2603144 h 6858000"/>
              <a:gd name="connsiteX1032" fmla="*/ 1718189 w 5794893"/>
              <a:gd name="connsiteY1032" fmla="*/ 2542921 h 6858000"/>
              <a:gd name="connsiteX1033" fmla="*/ 1815282 w 5794893"/>
              <a:gd name="connsiteY1033" fmla="*/ 2603144 h 6858000"/>
              <a:gd name="connsiteX1034" fmla="*/ 1842321 w 5794893"/>
              <a:gd name="connsiteY1034" fmla="*/ 2547837 h 6858000"/>
              <a:gd name="connsiteX1035" fmla="*/ 1945560 w 5794893"/>
              <a:gd name="connsiteY1035" fmla="*/ 2603144 h 6858000"/>
              <a:gd name="connsiteX1036" fmla="*/ 1967682 w 5794893"/>
              <a:gd name="connsiteY1036" fmla="*/ 2551524 h 6858000"/>
              <a:gd name="connsiteX1037" fmla="*/ 2075837 w 5794893"/>
              <a:gd name="connsiteY1037" fmla="*/ 2603144 h 6858000"/>
              <a:gd name="connsiteX1038" fmla="*/ 2093044 w 5794893"/>
              <a:gd name="connsiteY1038" fmla="*/ 2556441 h 6858000"/>
              <a:gd name="connsiteX1039" fmla="*/ 2204887 w 5794893"/>
              <a:gd name="connsiteY1039" fmla="*/ 2603144 h 6858000"/>
              <a:gd name="connsiteX1040" fmla="*/ 2218405 w 5794893"/>
              <a:gd name="connsiteY1040" fmla="*/ 2560127 h 6858000"/>
              <a:gd name="connsiteX1041" fmla="*/ 2333934 w 5794893"/>
              <a:gd name="connsiteY1041" fmla="*/ 2603144 h 6858000"/>
              <a:gd name="connsiteX1042" fmla="*/ 2344996 w 5794893"/>
              <a:gd name="connsiteY1042" fmla="*/ 2565043 h 6858000"/>
              <a:gd name="connsiteX1043" fmla="*/ 2464212 w 5794893"/>
              <a:gd name="connsiteY1043" fmla="*/ 2603144 h 6858000"/>
              <a:gd name="connsiteX1044" fmla="*/ 2472816 w 5794893"/>
              <a:gd name="connsiteY1044" fmla="*/ 2568731 h 6858000"/>
              <a:gd name="connsiteX1045" fmla="*/ 2594490 w 5794893"/>
              <a:gd name="connsiteY1045" fmla="*/ 2603144 h 6858000"/>
              <a:gd name="connsiteX1046" fmla="*/ 2600635 w 5794893"/>
              <a:gd name="connsiteY1046" fmla="*/ 2573647 h 6858000"/>
              <a:gd name="connsiteX1047" fmla="*/ 2723539 w 5794893"/>
              <a:gd name="connsiteY1047" fmla="*/ 2603144 h 6858000"/>
              <a:gd name="connsiteX1048" fmla="*/ 2728455 w 5794893"/>
              <a:gd name="connsiteY1048" fmla="*/ 2577334 h 6858000"/>
              <a:gd name="connsiteX1049" fmla="*/ 2852587 w 5794893"/>
              <a:gd name="connsiteY1049" fmla="*/ 2603144 h 6858000"/>
              <a:gd name="connsiteX1050" fmla="*/ 2856274 w 5794893"/>
              <a:gd name="connsiteY1050" fmla="*/ 2581021 h 6858000"/>
              <a:gd name="connsiteX1051" fmla="*/ 2982864 w 5794893"/>
              <a:gd name="connsiteY1051" fmla="*/ 2603144 h 6858000"/>
              <a:gd name="connsiteX1052" fmla="*/ 2985322 w 5794893"/>
              <a:gd name="connsiteY1052" fmla="*/ 2584708 h 6858000"/>
              <a:gd name="connsiteX1053" fmla="*/ 3111913 w 5794893"/>
              <a:gd name="connsiteY1053" fmla="*/ 2603144 h 6858000"/>
              <a:gd name="connsiteX1054" fmla="*/ 3113142 w 5794893"/>
              <a:gd name="connsiteY1054" fmla="*/ 2587166 h 6858000"/>
              <a:gd name="connsiteX1055" fmla="*/ 3240961 w 5794893"/>
              <a:gd name="connsiteY1055" fmla="*/ 2603144 h 6858000"/>
              <a:gd name="connsiteX1056" fmla="*/ 3242191 w 5794893"/>
              <a:gd name="connsiteY1056" fmla="*/ 2590854 h 6858000"/>
              <a:gd name="connsiteX1057" fmla="*/ 3371239 w 5794893"/>
              <a:gd name="connsiteY1057" fmla="*/ 2603144 h 6858000"/>
              <a:gd name="connsiteX1058" fmla="*/ 3372468 w 5794893"/>
              <a:gd name="connsiteY1058" fmla="*/ 2593312 h 6858000"/>
              <a:gd name="connsiteX1059" fmla="*/ 3501516 w 5794893"/>
              <a:gd name="connsiteY1059" fmla="*/ 2603144 h 6858000"/>
              <a:gd name="connsiteX1060" fmla="*/ 3501516 w 5794893"/>
              <a:gd name="connsiteY1060" fmla="*/ 2595770 h 6858000"/>
              <a:gd name="connsiteX1061" fmla="*/ 3630565 w 5794893"/>
              <a:gd name="connsiteY1061" fmla="*/ 2603144 h 6858000"/>
              <a:gd name="connsiteX1062" fmla="*/ 3630565 w 5794893"/>
              <a:gd name="connsiteY1062" fmla="*/ 2598228 h 6858000"/>
              <a:gd name="connsiteX1063" fmla="*/ 3639168 w 5794893"/>
              <a:gd name="connsiteY1063" fmla="*/ 2598228 h 6858000"/>
              <a:gd name="connsiteX1064" fmla="*/ 3719056 w 5794893"/>
              <a:gd name="connsiteY1064" fmla="*/ 2600686 h 6858000"/>
              <a:gd name="connsiteX1065" fmla="*/ 3719056 w 5794893"/>
              <a:gd name="connsiteY1065" fmla="*/ 2601914 h 6858000"/>
              <a:gd name="connsiteX1066" fmla="*/ 5740817 w 5794893"/>
              <a:gd name="connsiteY1066" fmla="*/ 2643701 h 6858000"/>
              <a:gd name="connsiteX1067" fmla="*/ 3719056 w 5794893"/>
              <a:gd name="connsiteY1067" fmla="*/ 2643701 h 6858000"/>
              <a:gd name="connsiteX1068" fmla="*/ 3719056 w 5794893"/>
              <a:gd name="connsiteY1068" fmla="*/ 2644931 h 6858000"/>
              <a:gd name="connsiteX1069" fmla="*/ 3601069 w 5794893"/>
              <a:gd name="connsiteY1069" fmla="*/ 2642473 h 6858000"/>
              <a:gd name="connsiteX1070" fmla="*/ 3601069 w 5794893"/>
              <a:gd name="connsiteY1070" fmla="*/ 2647389 h 6858000"/>
              <a:gd name="connsiteX1071" fmla="*/ 3483081 w 5794893"/>
              <a:gd name="connsiteY1071" fmla="*/ 2643701 h 6858000"/>
              <a:gd name="connsiteX1072" fmla="*/ 3483081 w 5794893"/>
              <a:gd name="connsiteY1072" fmla="*/ 2649847 h 6858000"/>
              <a:gd name="connsiteX1073" fmla="*/ 3365094 w 5794893"/>
              <a:gd name="connsiteY1073" fmla="*/ 2643701 h 6858000"/>
              <a:gd name="connsiteX1074" fmla="*/ 3365094 w 5794893"/>
              <a:gd name="connsiteY1074" fmla="*/ 2652305 h 6858000"/>
              <a:gd name="connsiteX1075" fmla="*/ 3247107 w 5794893"/>
              <a:gd name="connsiteY1075" fmla="*/ 2643701 h 6858000"/>
              <a:gd name="connsiteX1076" fmla="*/ 3247107 w 5794893"/>
              <a:gd name="connsiteY1076" fmla="*/ 2654763 h 6858000"/>
              <a:gd name="connsiteX1077" fmla="*/ 3129120 w 5794893"/>
              <a:gd name="connsiteY1077" fmla="*/ 2643701 h 6858000"/>
              <a:gd name="connsiteX1078" fmla="*/ 3127890 w 5794893"/>
              <a:gd name="connsiteY1078" fmla="*/ 2658450 h 6858000"/>
              <a:gd name="connsiteX1079" fmla="*/ 3009903 w 5794893"/>
              <a:gd name="connsiteY1079" fmla="*/ 2643701 h 6858000"/>
              <a:gd name="connsiteX1080" fmla="*/ 3008674 w 5794893"/>
              <a:gd name="connsiteY1080" fmla="*/ 2660908 h 6858000"/>
              <a:gd name="connsiteX1081" fmla="*/ 2891916 w 5794893"/>
              <a:gd name="connsiteY1081" fmla="*/ 2643701 h 6858000"/>
              <a:gd name="connsiteX1082" fmla="*/ 2889458 w 5794893"/>
              <a:gd name="connsiteY1082" fmla="*/ 2664596 h 6858000"/>
              <a:gd name="connsiteX1083" fmla="*/ 2773928 w 5794893"/>
              <a:gd name="connsiteY1083" fmla="*/ 2643701 h 6858000"/>
              <a:gd name="connsiteX1084" fmla="*/ 2770242 w 5794893"/>
              <a:gd name="connsiteY1084" fmla="*/ 2668282 h 6858000"/>
              <a:gd name="connsiteX1085" fmla="*/ 2655941 w 5794893"/>
              <a:gd name="connsiteY1085" fmla="*/ 2643701 h 6858000"/>
              <a:gd name="connsiteX1086" fmla="*/ 2651025 w 5794893"/>
              <a:gd name="connsiteY1086" fmla="*/ 2670740 h 6858000"/>
              <a:gd name="connsiteX1087" fmla="*/ 2537954 w 5794893"/>
              <a:gd name="connsiteY1087" fmla="*/ 2643701 h 6858000"/>
              <a:gd name="connsiteX1088" fmla="*/ 2531809 w 5794893"/>
              <a:gd name="connsiteY1088" fmla="*/ 2675656 h 6858000"/>
              <a:gd name="connsiteX1089" fmla="*/ 2419967 w 5794893"/>
              <a:gd name="connsiteY1089" fmla="*/ 2643701 h 6858000"/>
              <a:gd name="connsiteX1090" fmla="*/ 2412593 w 5794893"/>
              <a:gd name="connsiteY1090" fmla="*/ 2679344 h 6858000"/>
              <a:gd name="connsiteX1091" fmla="*/ 2301980 w 5794893"/>
              <a:gd name="connsiteY1091" fmla="*/ 2643701 h 6858000"/>
              <a:gd name="connsiteX1092" fmla="*/ 2292147 w 5794893"/>
              <a:gd name="connsiteY1092" fmla="*/ 2683030 h 6858000"/>
              <a:gd name="connsiteX1093" fmla="*/ 2183992 w 5794893"/>
              <a:gd name="connsiteY1093" fmla="*/ 2643701 h 6858000"/>
              <a:gd name="connsiteX1094" fmla="*/ 2171702 w 5794893"/>
              <a:gd name="connsiteY1094" fmla="*/ 2687947 h 6858000"/>
              <a:gd name="connsiteX1095" fmla="*/ 2066005 w 5794893"/>
              <a:gd name="connsiteY1095" fmla="*/ 2643701 h 6858000"/>
              <a:gd name="connsiteX1096" fmla="*/ 2050028 w 5794893"/>
              <a:gd name="connsiteY1096" fmla="*/ 2692863 h 6858000"/>
              <a:gd name="connsiteX1097" fmla="*/ 1948018 w 5794893"/>
              <a:gd name="connsiteY1097" fmla="*/ 2643701 h 6858000"/>
              <a:gd name="connsiteX1098" fmla="*/ 1928353 w 5794893"/>
              <a:gd name="connsiteY1098" fmla="*/ 2697779 h 6858000"/>
              <a:gd name="connsiteX1099" fmla="*/ 1830031 w 5794893"/>
              <a:gd name="connsiteY1099" fmla="*/ 2644931 h 6858000"/>
              <a:gd name="connsiteX1100" fmla="*/ 1805450 w 5794893"/>
              <a:gd name="connsiteY1100" fmla="*/ 2702695 h 6858000"/>
              <a:gd name="connsiteX1101" fmla="*/ 1712043 w 5794893"/>
              <a:gd name="connsiteY1101" fmla="*/ 2644931 h 6858000"/>
              <a:gd name="connsiteX1102" fmla="*/ 1682547 w 5794893"/>
              <a:gd name="connsiteY1102" fmla="*/ 2706383 h 6858000"/>
              <a:gd name="connsiteX1103" fmla="*/ 1594056 w 5794893"/>
              <a:gd name="connsiteY1103" fmla="*/ 2643701 h 6858000"/>
              <a:gd name="connsiteX1104" fmla="*/ 1558510 w 5794893"/>
              <a:gd name="connsiteY1104" fmla="*/ 2707442 h 6858000"/>
              <a:gd name="connsiteX1105" fmla="*/ 1477299 w 5794893"/>
              <a:gd name="connsiteY1105" fmla="*/ 2642473 h 6858000"/>
              <a:gd name="connsiteX1106" fmla="*/ 1440428 w 5794893"/>
              <a:gd name="connsiteY1106" fmla="*/ 2701467 h 6858000"/>
              <a:gd name="connsiteX1107" fmla="*/ 1557185 w 5794893"/>
              <a:gd name="connsiteY1107" fmla="*/ 2794873 h 6858000"/>
              <a:gd name="connsiteX1108" fmla="*/ 1594056 w 5794893"/>
              <a:gd name="connsiteY1108" fmla="*/ 2735879 h 6858000"/>
              <a:gd name="connsiteX1109" fmla="*/ 1560841 w 5794893"/>
              <a:gd name="connsiteY1109" fmla="*/ 2709307 h 6858000"/>
              <a:gd name="connsiteX1110" fmla="*/ 1685005 w 5794893"/>
              <a:gd name="connsiteY1110" fmla="*/ 2796101 h 6858000"/>
              <a:gd name="connsiteX1111" fmla="*/ 1718189 w 5794893"/>
              <a:gd name="connsiteY1111" fmla="*/ 2735879 h 6858000"/>
              <a:gd name="connsiteX1112" fmla="*/ 1815282 w 5794893"/>
              <a:gd name="connsiteY1112" fmla="*/ 2796101 h 6858000"/>
              <a:gd name="connsiteX1113" fmla="*/ 1842321 w 5794893"/>
              <a:gd name="connsiteY1113" fmla="*/ 2740796 h 6858000"/>
              <a:gd name="connsiteX1114" fmla="*/ 1945560 w 5794893"/>
              <a:gd name="connsiteY1114" fmla="*/ 2796101 h 6858000"/>
              <a:gd name="connsiteX1115" fmla="*/ 1967682 w 5794893"/>
              <a:gd name="connsiteY1115" fmla="*/ 2744482 h 6858000"/>
              <a:gd name="connsiteX1116" fmla="*/ 2075837 w 5794893"/>
              <a:gd name="connsiteY1116" fmla="*/ 2796101 h 6858000"/>
              <a:gd name="connsiteX1117" fmla="*/ 2093044 w 5794893"/>
              <a:gd name="connsiteY1117" fmla="*/ 2749398 h 6858000"/>
              <a:gd name="connsiteX1118" fmla="*/ 2204887 w 5794893"/>
              <a:gd name="connsiteY1118" fmla="*/ 2796101 h 6858000"/>
              <a:gd name="connsiteX1119" fmla="*/ 2218405 w 5794893"/>
              <a:gd name="connsiteY1119" fmla="*/ 2753086 h 6858000"/>
              <a:gd name="connsiteX1120" fmla="*/ 2333934 w 5794893"/>
              <a:gd name="connsiteY1120" fmla="*/ 2796101 h 6858000"/>
              <a:gd name="connsiteX1121" fmla="*/ 2344996 w 5794893"/>
              <a:gd name="connsiteY1121" fmla="*/ 2758002 h 6858000"/>
              <a:gd name="connsiteX1122" fmla="*/ 2464212 w 5794893"/>
              <a:gd name="connsiteY1122" fmla="*/ 2796101 h 6858000"/>
              <a:gd name="connsiteX1123" fmla="*/ 2472816 w 5794893"/>
              <a:gd name="connsiteY1123" fmla="*/ 2761689 h 6858000"/>
              <a:gd name="connsiteX1124" fmla="*/ 2594490 w 5794893"/>
              <a:gd name="connsiteY1124" fmla="*/ 2796101 h 6858000"/>
              <a:gd name="connsiteX1125" fmla="*/ 2600635 w 5794893"/>
              <a:gd name="connsiteY1125" fmla="*/ 2766605 h 6858000"/>
              <a:gd name="connsiteX1126" fmla="*/ 2723539 w 5794893"/>
              <a:gd name="connsiteY1126" fmla="*/ 2796101 h 6858000"/>
              <a:gd name="connsiteX1127" fmla="*/ 2728455 w 5794893"/>
              <a:gd name="connsiteY1127" fmla="*/ 2770292 h 6858000"/>
              <a:gd name="connsiteX1128" fmla="*/ 2850129 w 5794893"/>
              <a:gd name="connsiteY1128" fmla="*/ 2797331 h 6858000"/>
              <a:gd name="connsiteX1129" fmla="*/ 2853816 w 5794893"/>
              <a:gd name="connsiteY1129" fmla="*/ 2775209 h 6858000"/>
              <a:gd name="connsiteX1130" fmla="*/ 2980406 w 5794893"/>
              <a:gd name="connsiteY1130" fmla="*/ 2797331 h 6858000"/>
              <a:gd name="connsiteX1131" fmla="*/ 2982864 w 5794893"/>
              <a:gd name="connsiteY1131" fmla="*/ 2778895 h 6858000"/>
              <a:gd name="connsiteX1132" fmla="*/ 3109455 w 5794893"/>
              <a:gd name="connsiteY1132" fmla="*/ 2797331 h 6858000"/>
              <a:gd name="connsiteX1133" fmla="*/ 3110684 w 5794893"/>
              <a:gd name="connsiteY1133" fmla="*/ 2781353 h 6858000"/>
              <a:gd name="connsiteX1134" fmla="*/ 3238503 w 5794893"/>
              <a:gd name="connsiteY1134" fmla="*/ 2797331 h 6858000"/>
              <a:gd name="connsiteX1135" fmla="*/ 3239733 w 5794893"/>
              <a:gd name="connsiteY1135" fmla="*/ 2785041 h 6858000"/>
              <a:gd name="connsiteX1136" fmla="*/ 3368781 w 5794893"/>
              <a:gd name="connsiteY1136" fmla="*/ 2797331 h 6858000"/>
              <a:gd name="connsiteX1137" fmla="*/ 3370010 w 5794893"/>
              <a:gd name="connsiteY1137" fmla="*/ 2787499 h 6858000"/>
              <a:gd name="connsiteX1138" fmla="*/ 3499058 w 5794893"/>
              <a:gd name="connsiteY1138" fmla="*/ 2797331 h 6858000"/>
              <a:gd name="connsiteX1139" fmla="*/ 3499058 w 5794893"/>
              <a:gd name="connsiteY1139" fmla="*/ 2789957 h 6858000"/>
              <a:gd name="connsiteX1140" fmla="*/ 3628107 w 5794893"/>
              <a:gd name="connsiteY1140" fmla="*/ 2797331 h 6858000"/>
              <a:gd name="connsiteX1141" fmla="*/ 3628107 w 5794893"/>
              <a:gd name="connsiteY1141" fmla="*/ 2792415 h 6858000"/>
              <a:gd name="connsiteX1142" fmla="*/ 3636710 w 5794893"/>
              <a:gd name="connsiteY1142" fmla="*/ 2792415 h 6858000"/>
              <a:gd name="connsiteX1143" fmla="*/ 3716598 w 5794893"/>
              <a:gd name="connsiteY1143" fmla="*/ 2794873 h 6858000"/>
              <a:gd name="connsiteX1144" fmla="*/ 3716598 w 5794893"/>
              <a:gd name="connsiteY1144" fmla="*/ 2801018 h 6858000"/>
              <a:gd name="connsiteX1145" fmla="*/ 5708861 w 5794893"/>
              <a:gd name="connsiteY1145" fmla="*/ 2842805 h 6858000"/>
              <a:gd name="connsiteX1146" fmla="*/ 3716598 w 5794893"/>
              <a:gd name="connsiteY1146" fmla="*/ 2842805 h 6858000"/>
              <a:gd name="connsiteX1147" fmla="*/ 3716598 w 5794893"/>
              <a:gd name="connsiteY1147" fmla="*/ 2844034 h 6858000"/>
              <a:gd name="connsiteX1148" fmla="*/ 3598611 w 5794893"/>
              <a:gd name="connsiteY1148" fmla="*/ 2841576 h 6858000"/>
              <a:gd name="connsiteX1149" fmla="*/ 3598611 w 5794893"/>
              <a:gd name="connsiteY1149" fmla="*/ 2845263 h 6858000"/>
              <a:gd name="connsiteX1150" fmla="*/ 3480623 w 5794893"/>
              <a:gd name="connsiteY1150" fmla="*/ 2841576 h 6858000"/>
              <a:gd name="connsiteX1151" fmla="*/ 3480623 w 5794893"/>
              <a:gd name="connsiteY1151" fmla="*/ 2847721 h 6858000"/>
              <a:gd name="connsiteX1152" fmla="*/ 3362636 w 5794893"/>
              <a:gd name="connsiteY1152" fmla="*/ 2841576 h 6858000"/>
              <a:gd name="connsiteX1153" fmla="*/ 3362636 w 5794893"/>
              <a:gd name="connsiteY1153" fmla="*/ 2850179 h 6858000"/>
              <a:gd name="connsiteX1154" fmla="*/ 3244649 w 5794893"/>
              <a:gd name="connsiteY1154" fmla="*/ 2841576 h 6858000"/>
              <a:gd name="connsiteX1155" fmla="*/ 3244649 w 5794893"/>
              <a:gd name="connsiteY1155" fmla="*/ 2852637 h 6858000"/>
              <a:gd name="connsiteX1156" fmla="*/ 3126662 w 5794893"/>
              <a:gd name="connsiteY1156" fmla="*/ 2841576 h 6858000"/>
              <a:gd name="connsiteX1157" fmla="*/ 3125432 w 5794893"/>
              <a:gd name="connsiteY1157" fmla="*/ 2856325 h 6858000"/>
              <a:gd name="connsiteX1158" fmla="*/ 3007445 w 5794893"/>
              <a:gd name="connsiteY1158" fmla="*/ 2841576 h 6858000"/>
              <a:gd name="connsiteX1159" fmla="*/ 3006216 w 5794893"/>
              <a:gd name="connsiteY1159" fmla="*/ 2858783 h 6858000"/>
              <a:gd name="connsiteX1160" fmla="*/ 2889458 w 5794893"/>
              <a:gd name="connsiteY1160" fmla="*/ 2841576 h 6858000"/>
              <a:gd name="connsiteX1161" fmla="*/ 2887000 w 5794893"/>
              <a:gd name="connsiteY1161" fmla="*/ 2862469 h 6858000"/>
              <a:gd name="connsiteX1162" fmla="*/ 2771470 w 5794893"/>
              <a:gd name="connsiteY1162" fmla="*/ 2841576 h 6858000"/>
              <a:gd name="connsiteX1163" fmla="*/ 2767784 w 5794893"/>
              <a:gd name="connsiteY1163" fmla="*/ 2864927 h 6858000"/>
              <a:gd name="connsiteX1164" fmla="*/ 2653483 w 5794893"/>
              <a:gd name="connsiteY1164" fmla="*/ 2841576 h 6858000"/>
              <a:gd name="connsiteX1165" fmla="*/ 2648567 w 5794893"/>
              <a:gd name="connsiteY1165" fmla="*/ 2868615 h 6858000"/>
              <a:gd name="connsiteX1166" fmla="*/ 2535496 w 5794893"/>
              <a:gd name="connsiteY1166" fmla="*/ 2841576 h 6858000"/>
              <a:gd name="connsiteX1167" fmla="*/ 2529351 w 5794893"/>
              <a:gd name="connsiteY1167" fmla="*/ 2872302 h 6858000"/>
              <a:gd name="connsiteX1168" fmla="*/ 2417509 w 5794893"/>
              <a:gd name="connsiteY1168" fmla="*/ 2841576 h 6858000"/>
              <a:gd name="connsiteX1169" fmla="*/ 2410134 w 5794893"/>
              <a:gd name="connsiteY1169" fmla="*/ 2877218 h 6858000"/>
              <a:gd name="connsiteX1170" fmla="*/ 2299521 w 5794893"/>
              <a:gd name="connsiteY1170" fmla="*/ 2841576 h 6858000"/>
              <a:gd name="connsiteX1171" fmla="*/ 2289689 w 5794893"/>
              <a:gd name="connsiteY1171" fmla="*/ 2880905 h 6858000"/>
              <a:gd name="connsiteX1172" fmla="*/ 2181534 w 5794893"/>
              <a:gd name="connsiteY1172" fmla="*/ 2841576 h 6858000"/>
              <a:gd name="connsiteX1173" fmla="*/ 2169244 w 5794893"/>
              <a:gd name="connsiteY1173" fmla="*/ 2885822 h 6858000"/>
              <a:gd name="connsiteX1174" fmla="*/ 2063547 w 5794893"/>
              <a:gd name="connsiteY1174" fmla="*/ 2841576 h 6858000"/>
              <a:gd name="connsiteX1175" fmla="*/ 2047570 w 5794893"/>
              <a:gd name="connsiteY1175" fmla="*/ 2890738 h 6858000"/>
              <a:gd name="connsiteX1176" fmla="*/ 1945560 w 5794893"/>
              <a:gd name="connsiteY1176" fmla="*/ 2841576 h 6858000"/>
              <a:gd name="connsiteX1177" fmla="*/ 1925895 w 5794893"/>
              <a:gd name="connsiteY1177" fmla="*/ 2894424 h 6858000"/>
              <a:gd name="connsiteX1178" fmla="*/ 1827572 w 5794893"/>
              <a:gd name="connsiteY1178" fmla="*/ 2841576 h 6858000"/>
              <a:gd name="connsiteX1179" fmla="*/ 1802992 w 5794893"/>
              <a:gd name="connsiteY1179" fmla="*/ 2899340 h 6858000"/>
              <a:gd name="connsiteX1180" fmla="*/ 1709585 w 5794893"/>
              <a:gd name="connsiteY1180" fmla="*/ 2841576 h 6858000"/>
              <a:gd name="connsiteX1181" fmla="*/ 1680088 w 5794893"/>
              <a:gd name="connsiteY1181" fmla="*/ 2903028 h 6858000"/>
              <a:gd name="connsiteX1182" fmla="*/ 1591598 w 5794893"/>
              <a:gd name="connsiteY1182" fmla="*/ 2841576 h 6858000"/>
              <a:gd name="connsiteX1183" fmla="*/ 1557758 w 5794893"/>
              <a:gd name="connsiteY1183" fmla="*/ 2902257 h 6858000"/>
              <a:gd name="connsiteX1184" fmla="*/ 1477299 w 5794893"/>
              <a:gd name="connsiteY1184" fmla="*/ 2837889 h 6858000"/>
              <a:gd name="connsiteX1185" fmla="*/ 1440428 w 5794893"/>
              <a:gd name="connsiteY1185" fmla="*/ 2896882 h 6858000"/>
              <a:gd name="connsiteX1186" fmla="*/ 1557185 w 5794893"/>
              <a:gd name="connsiteY1186" fmla="*/ 2990289 h 6858000"/>
              <a:gd name="connsiteX1187" fmla="*/ 1593698 w 5794893"/>
              <a:gd name="connsiteY1187" fmla="*/ 2931868 h 6858000"/>
              <a:gd name="connsiteX1188" fmla="*/ 1682547 w 5794893"/>
              <a:gd name="connsiteY1188" fmla="*/ 2993977 h 6858000"/>
              <a:gd name="connsiteX1189" fmla="*/ 1715731 w 5794893"/>
              <a:gd name="connsiteY1189" fmla="*/ 2933753 h 6858000"/>
              <a:gd name="connsiteX1190" fmla="*/ 1812824 w 5794893"/>
              <a:gd name="connsiteY1190" fmla="*/ 2993977 h 6858000"/>
              <a:gd name="connsiteX1191" fmla="*/ 1839863 w 5794893"/>
              <a:gd name="connsiteY1191" fmla="*/ 2938669 h 6858000"/>
              <a:gd name="connsiteX1192" fmla="*/ 1943102 w 5794893"/>
              <a:gd name="connsiteY1192" fmla="*/ 2993977 h 6858000"/>
              <a:gd name="connsiteX1193" fmla="*/ 1965224 w 5794893"/>
              <a:gd name="connsiteY1193" fmla="*/ 2942357 h 6858000"/>
              <a:gd name="connsiteX1194" fmla="*/ 2073379 w 5794893"/>
              <a:gd name="connsiteY1194" fmla="*/ 2993977 h 6858000"/>
              <a:gd name="connsiteX1195" fmla="*/ 2090586 w 5794893"/>
              <a:gd name="connsiteY1195" fmla="*/ 2947273 h 6858000"/>
              <a:gd name="connsiteX1196" fmla="*/ 2202428 w 5794893"/>
              <a:gd name="connsiteY1196" fmla="*/ 2993977 h 6858000"/>
              <a:gd name="connsiteX1197" fmla="*/ 2215947 w 5794893"/>
              <a:gd name="connsiteY1197" fmla="*/ 2950960 h 6858000"/>
              <a:gd name="connsiteX1198" fmla="*/ 2331476 w 5794893"/>
              <a:gd name="connsiteY1198" fmla="*/ 2993977 h 6858000"/>
              <a:gd name="connsiteX1199" fmla="*/ 2342538 w 5794893"/>
              <a:gd name="connsiteY1199" fmla="*/ 2955876 h 6858000"/>
              <a:gd name="connsiteX1200" fmla="*/ 2461754 w 5794893"/>
              <a:gd name="connsiteY1200" fmla="*/ 2993977 h 6858000"/>
              <a:gd name="connsiteX1201" fmla="*/ 2470358 w 5794893"/>
              <a:gd name="connsiteY1201" fmla="*/ 2959564 h 6858000"/>
              <a:gd name="connsiteX1202" fmla="*/ 2592031 w 5794893"/>
              <a:gd name="connsiteY1202" fmla="*/ 2993977 h 6858000"/>
              <a:gd name="connsiteX1203" fmla="*/ 2598177 w 5794893"/>
              <a:gd name="connsiteY1203" fmla="*/ 2964480 h 6858000"/>
              <a:gd name="connsiteX1204" fmla="*/ 2721081 w 5794893"/>
              <a:gd name="connsiteY1204" fmla="*/ 2993977 h 6858000"/>
              <a:gd name="connsiteX1205" fmla="*/ 2725997 w 5794893"/>
              <a:gd name="connsiteY1205" fmla="*/ 2968166 h 6858000"/>
              <a:gd name="connsiteX1206" fmla="*/ 2851358 w 5794893"/>
              <a:gd name="connsiteY1206" fmla="*/ 2993977 h 6858000"/>
              <a:gd name="connsiteX1207" fmla="*/ 2855045 w 5794893"/>
              <a:gd name="connsiteY1207" fmla="*/ 2971854 h 6858000"/>
              <a:gd name="connsiteX1208" fmla="*/ 2981636 w 5794893"/>
              <a:gd name="connsiteY1208" fmla="*/ 2993977 h 6858000"/>
              <a:gd name="connsiteX1209" fmla="*/ 2984094 w 5794893"/>
              <a:gd name="connsiteY1209" fmla="*/ 2975540 h 6858000"/>
              <a:gd name="connsiteX1210" fmla="*/ 3110684 w 5794893"/>
              <a:gd name="connsiteY1210" fmla="*/ 2993977 h 6858000"/>
              <a:gd name="connsiteX1211" fmla="*/ 3111913 w 5794893"/>
              <a:gd name="connsiteY1211" fmla="*/ 2977998 h 6858000"/>
              <a:gd name="connsiteX1212" fmla="*/ 3239733 w 5794893"/>
              <a:gd name="connsiteY1212" fmla="*/ 2993977 h 6858000"/>
              <a:gd name="connsiteX1213" fmla="*/ 3240961 w 5794893"/>
              <a:gd name="connsiteY1213" fmla="*/ 2981686 h 6858000"/>
              <a:gd name="connsiteX1214" fmla="*/ 3370010 w 5794893"/>
              <a:gd name="connsiteY1214" fmla="*/ 2993977 h 6858000"/>
              <a:gd name="connsiteX1215" fmla="*/ 3371239 w 5794893"/>
              <a:gd name="connsiteY1215" fmla="*/ 2984144 h 6858000"/>
              <a:gd name="connsiteX1216" fmla="*/ 3500288 w 5794893"/>
              <a:gd name="connsiteY1216" fmla="*/ 2993977 h 6858000"/>
              <a:gd name="connsiteX1217" fmla="*/ 3500288 w 5794893"/>
              <a:gd name="connsiteY1217" fmla="*/ 2986602 h 6858000"/>
              <a:gd name="connsiteX1218" fmla="*/ 3629336 w 5794893"/>
              <a:gd name="connsiteY1218" fmla="*/ 2993977 h 6858000"/>
              <a:gd name="connsiteX1219" fmla="*/ 3629336 w 5794893"/>
              <a:gd name="connsiteY1219" fmla="*/ 2989060 h 6858000"/>
              <a:gd name="connsiteX1220" fmla="*/ 3637940 w 5794893"/>
              <a:gd name="connsiteY1220" fmla="*/ 2989060 h 6858000"/>
              <a:gd name="connsiteX1221" fmla="*/ 3717826 w 5794893"/>
              <a:gd name="connsiteY1221" fmla="*/ 2991518 h 6858000"/>
              <a:gd name="connsiteX1222" fmla="*/ 3717826 w 5794893"/>
              <a:gd name="connsiteY1222" fmla="*/ 2992747 h 6858000"/>
              <a:gd name="connsiteX1223" fmla="*/ 5716236 w 5794893"/>
              <a:gd name="connsiteY1223" fmla="*/ 3034534 h 6858000"/>
              <a:gd name="connsiteX1224" fmla="*/ 3717826 w 5794893"/>
              <a:gd name="connsiteY1224" fmla="*/ 3034534 h 6858000"/>
              <a:gd name="connsiteX1225" fmla="*/ 3717826 w 5794893"/>
              <a:gd name="connsiteY1225" fmla="*/ 3035764 h 6858000"/>
              <a:gd name="connsiteX1226" fmla="*/ 3599839 w 5794893"/>
              <a:gd name="connsiteY1226" fmla="*/ 3033306 h 6858000"/>
              <a:gd name="connsiteX1227" fmla="*/ 3599839 w 5794893"/>
              <a:gd name="connsiteY1227" fmla="*/ 3036992 h 6858000"/>
              <a:gd name="connsiteX1228" fmla="*/ 3481852 w 5794893"/>
              <a:gd name="connsiteY1228" fmla="*/ 3033306 h 6858000"/>
              <a:gd name="connsiteX1229" fmla="*/ 3481852 w 5794893"/>
              <a:gd name="connsiteY1229" fmla="*/ 3039450 h 6858000"/>
              <a:gd name="connsiteX1230" fmla="*/ 3363865 w 5794893"/>
              <a:gd name="connsiteY1230" fmla="*/ 3033306 h 6858000"/>
              <a:gd name="connsiteX1231" fmla="*/ 3363865 w 5794893"/>
              <a:gd name="connsiteY1231" fmla="*/ 3041908 h 6858000"/>
              <a:gd name="connsiteX1232" fmla="*/ 3245877 w 5794893"/>
              <a:gd name="connsiteY1232" fmla="*/ 3033306 h 6858000"/>
              <a:gd name="connsiteX1233" fmla="*/ 3245877 w 5794893"/>
              <a:gd name="connsiteY1233" fmla="*/ 3044366 h 6858000"/>
              <a:gd name="connsiteX1234" fmla="*/ 3127890 w 5794893"/>
              <a:gd name="connsiteY1234" fmla="*/ 3033306 h 6858000"/>
              <a:gd name="connsiteX1235" fmla="*/ 3126662 w 5794893"/>
              <a:gd name="connsiteY1235" fmla="*/ 3048054 h 6858000"/>
              <a:gd name="connsiteX1236" fmla="*/ 3008674 w 5794893"/>
              <a:gd name="connsiteY1236" fmla="*/ 3033306 h 6858000"/>
              <a:gd name="connsiteX1237" fmla="*/ 3007445 w 5794893"/>
              <a:gd name="connsiteY1237" fmla="*/ 3050512 h 6858000"/>
              <a:gd name="connsiteX1238" fmla="*/ 2890687 w 5794893"/>
              <a:gd name="connsiteY1238" fmla="*/ 3033306 h 6858000"/>
              <a:gd name="connsiteX1239" fmla="*/ 2888229 w 5794893"/>
              <a:gd name="connsiteY1239" fmla="*/ 3054199 h 6858000"/>
              <a:gd name="connsiteX1240" fmla="*/ 2772700 w 5794893"/>
              <a:gd name="connsiteY1240" fmla="*/ 3033306 h 6858000"/>
              <a:gd name="connsiteX1241" fmla="*/ 2769012 w 5794893"/>
              <a:gd name="connsiteY1241" fmla="*/ 3056657 h 6858000"/>
              <a:gd name="connsiteX1242" fmla="*/ 2654713 w 5794893"/>
              <a:gd name="connsiteY1242" fmla="*/ 3033306 h 6858000"/>
              <a:gd name="connsiteX1243" fmla="*/ 2649797 w 5794893"/>
              <a:gd name="connsiteY1243" fmla="*/ 3060344 h 6858000"/>
              <a:gd name="connsiteX1244" fmla="*/ 2536726 w 5794893"/>
              <a:gd name="connsiteY1244" fmla="*/ 3033306 h 6858000"/>
              <a:gd name="connsiteX1245" fmla="*/ 2530580 w 5794893"/>
              <a:gd name="connsiteY1245" fmla="*/ 3064031 h 6858000"/>
              <a:gd name="connsiteX1246" fmla="*/ 2418738 w 5794893"/>
              <a:gd name="connsiteY1246" fmla="*/ 3033306 h 6858000"/>
              <a:gd name="connsiteX1247" fmla="*/ 2411364 w 5794893"/>
              <a:gd name="connsiteY1247" fmla="*/ 3068947 h 6858000"/>
              <a:gd name="connsiteX1248" fmla="*/ 2300751 w 5794893"/>
              <a:gd name="connsiteY1248" fmla="*/ 3033306 h 6858000"/>
              <a:gd name="connsiteX1249" fmla="*/ 2290919 w 5794893"/>
              <a:gd name="connsiteY1249" fmla="*/ 3072635 h 6858000"/>
              <a:gd name="connsiteX1250" fmla="*/ 2182764 w 5794893"/>
              <a:gd name="connsiteY1250" fmla="*/ 3033306 h 6858000"/>
              <a:gd name="connsiteX1251" fmla="*/ 2170474 w 5794893"/>
              <a:gd name="connsiteY1251" fmla="*/ 3077551 h 6858000"/>
              <a:gd name="connsiteX1252" fmla="*/ 2064777 w 5794893"/>
              <a:gd name="connsiteY1252" fmla="*/ 3033306 h 6858000"/>
              <a:gd name="connsiteX1253" fmla="*/ 2048799 w 5794893"/>
              <a:gd name="connsiteY1253" fmla="*/ 3082467 h 6858000"/>
              <a:gd name="connsiteX1254" fmla="*/ 1946789 w 5794893"/>
              <a:gd name="connsiteY1254" fmla="*/ 3033306 h 6858000"/>
              <a:gd name="connsiteX1255" fmla="*/ 1927125 w 5794893"/>
              <a:gd name="connsiteY1255" fmla="*/ 3086153 h 6858000"/>
              <a:gd name="connsiteX1256" fmla="*/ 1828802 w 5794893"/>
              <a:gd name="connsiteY1256" fmla="*/ 3033306 h 6858000"/>
              <a:gd name="connsiteX1257" fmla="*/ 1804221 w 5794893"/>
              <a:gd name="connsiteY1257" fmla="*/ 3091070 h 6858000"/>
              <a:gd name="connsiteX1258" fmla="*/ 1710815 w 5794893"/>
              <a:gd name="connsiteY1258" fmla="*/ 3033306 h 6858000"/>
              <a:gd name="connsiteX1259" fmla="*/ 1681318 w 5794893"/>
              <a:gd name="connsiteY1259" fmla="*/ 3094757 h 6858000"/>
              <a:gd name="connsiteX1260" fmla="*/ 1592828 w 5794893"/>
              <a:gd name="connsiteY1260" fmla="*/ 3033306 h 6858000"/>
              <a:gd name="connsiteX1261" fmla="*/ 1557806 w 5794893"/>
              <a:gd name="connsiteY1261" fmla="*/ 3096101 h 6858000"/>
              <a:gd name="connsiteX1262" fmla="*/ 1477299 w 5794893"/>
              <a:gd name="connsiteY1262" fmla="*/ 3030848 h 6858000"/>
              <a:gd name="connsiteX1263" fmla="*/ 1440428 w 5794893"/>
              <a:gd name="connsiteY1263" fmla="*/ 3089841 h 6858000"/>
              <a:gd name="connsiteX1264" fmla="*/ 1557185 w 5794893"/>
              <a:gd name="connsiteY1264" fmla="*/ 3184476 h 6858000"/>
              <a:gd name="connsiteX1265" fmla="*/ 1594056 w 5794893"/>
              <a:gd name="connsiteY1265" fmla="*/ 3125482 h 6858000"/>
              <a:gd name="connsiteX1266" fmla="*/ 1571695 w 5794893"/>
              <a:gd name="connsiteY1266" fmla="*/ 3107358 h 6858000"/>
              <a:gd name="connsiteX1267" fmla="*/ 1683776 w 5794893"/>
              <a:gd name="connsiteY1267" fmla="*/ 3185706 h 6858000"/>
              <a:gd name="connsiteX1268" fmla="*/ 1716959 w 5794893"/>
              <a:gd name="connsiteY1268" fmla="*/ 3125482 h 6858000"/>
              <a:gd name="connsiteX1269" fmla="*/ 1814054 w 5794893"/>
              <a:gd name="connsiteY1269" fmla="*/ 3185706 h 6858000"/>
              <a:gd name="connsiteX1270" fmla="*/ 1841092 w 5794893"/>
              <a:gd name="connsiteY1270" fmla="*/ 3130399 h 6858000"/>
              <a:gd name="connsiteX1271" fmla="*/ 1944331 w 5794893"/>
              <a:gd name="connsiteY1271" fmla="*/ 3185706 h 6858000"/>
              <a:gd name="connsiteX1272" fmla="*/ 1966454 w 5794893"/>
              <a:gd name="connsiteY1272" fmla="*/ 3134086 h 6858000"/>
              <a:gd name="connsiteX1273" fmla="*/ 2074609 w 5794893"/>
              <a:gd name="connsiteY1273" fmla="*/ 3185706 h 6858000"/>
              <a:gd name="connsiteX1274" fmla="*/ 2091815 w 5794893"/>
              <a:gd name="connsiteY1274" fmla="*/ 3139003 h 6858000"/>
              <a:gd name="connsiteX1275" fmla="*/ 2203657 w 5794893"/>
              <a:gd name="connsiteY1275" fmla="*/ 3185706 h 6858000"/>
              <a:gd name="connsiteX1276" fmla="*/ 2217177 w 5794893"/>
              <a:gd name="connsiteY1276" fmla="*/ 3142689 h 6858000"/>
              <a:gd name="connsiteX1277" fmla="*/ 2332706 w 5794893"/>
              <a:gd name="connsiteY1277" fmla="*/ 3185706 h 6858000"/>
              <a:gd name="connsiteX1278" fmla="*/ 2343767 w 5794893"/>
              <a:gd name="connsiteY1278" fmla="*/ 3147605 h 6858000"/>
              <a:gd name="connsiteX1279" fmla="*/ 2462984 w 5794893"/>
              <a:gd name="connsiteY1279" fmla="*/ 3185706 h 6858000"/>
              <a:gd name="connsiteX1280" fmla="*/ 2471586 w 5794893"/>
              <a:gd name="connsiteY1280" fmla="*/ 3151293 h 6858000"/>
              <a:gd name="connsiteX1281" fmla="*/ 2593261 w 5794893"/>
              <a:gd name="connsiteY1281" fmla="*/ 3185706 h 6858000"/>
              <a:gd name="connsiteX1282" fmla="*/ 2599406 w 5794893"/>
              <a:gd name="connsiteY1282" fmla="*/ 3156209 h 6858000"/>
              <a:gd name="connsiteX1283" fmla="*/ 2722309 w 5794893"/>
              <a:gd name="connsiteY1283" fmla="*/ 3185706 h 6858000"/>
              <a:gd name="connsiteX1284" fmla="*/ 2727225 w 5794893"/>
              <a:gd name="connsiteY1284" fmla="*/ 3159895 h 6858000"/>
              <a:gd name="connsiteX1285" fmla="*/ 2852587 w 5794893"/>
              <a:gd name="connsiteY1285" fmla="*/ 3185706 h 6858000"/>
              <a:gd name="connsiteX1286" fmla="*/ 2856274 w 5794893"/>
              <a:gd name="connsiteY1286" fmla="*/ 3163583 h 6858000"/>
              <a:gd name="connsiteX1287" fmla="*/ 2982864 w 5794893"/>
              <a:gd name="connsiteY1287" fmla="*/ 3185706 h 6858000"/>
              <a:gd name="connsiteX1288" fmla="*/ 2985322 w 5794893"/>
              <a:gd name="connsiteY1288" fmla="*/ 3167270 h 6858000"/>
              <a:gd name="connsiteX1289" fmla="*/ 3111913 w 5794893"/>
              <a:gd name="connsiteY1289" fmla="*/ 3185706 h 6858000"/>
              <a:gd name="connsiteX1290" fmla="*/ 3113142 w 5794893"/>
              <a:gd name="connsiteY1290" fmla="*/ 3169728 h 6858000"/>
              <a:gd name="connsiteX1291" fmla="*/ 3240961 w 5794893"/>
              <a:gd name="connsiteY1291" fmla="*/ 3185706 h 6858000"/>
              <a:gd name="connsiteX1292" fmla="*/ 3242191 w 5794893"/>
              <a:gd name="connsiteY1292" fmla="*/ 3173415 h 6858000"/>
              <a:gd name="connsiteX1293" fmla="*/ 3371239 w 5794893"/>
              <a:gd name="connsiteY1293" fmla="*/ 3185706 h 6858000"/>
              <a:gd name="connsiteX1294" fmla="*/ 3372468 w 5794893"/>
              <a:gd name="connsiteY1294" fmla="*/ 3175874 h 6858000"/>
              <a:gd name="connsiteX1295" fmla="*/ 3501516 w 5794893"/>
              <a:gd name="connsiteY1295" fmla="*/ 3185706 h 6858000"/>
              <a:gd name="connsiteX1296" fmla="*/ 3501516 w 5794893"/>
              <a:gd name="connsiteY1296" fmla="*/ 3178332 h 6858000"/>
              <a:gd name="connsiteX1297" fmla="*/ 3630565 w 5794893"/>
              <a:gd name="connsiteY1297" fmla="*/ 3185706 h 6858000"/>
              <a:gd name="connsiteX1298" fmla="*/ 3630565 w 5794893"/>
              <a:gd name="connsiteY1298" fmla="*/ 3180790 h 6858000"/>
              <a:gd name="connsiteX1299" fmla="*/ 3639168 w 5794893"/>
              <a:gd name="connsiteY1299" fmla="*/ 3180790 h 6858000"/>
              <a:gd name="connsiteX1300" fmla="*/ 3719056 w 5794893"/>
              <a:gd name="connsiteY1300" fmla="*/ 3183248 h 6858000"/>
              <a:gd name="connsiteX1301" fmla="*/ 3719056 w 5794893"/>
              <a:gd name="connsiteY1301" fmla="*/ 3184476 h 6858000"/>
              <a:gd name="connsiteX1302" fmla="*/ 5703946 w 5794893"/>
              <a:gd name="connsiteY1302" fmla="*/ 3226263 h 6858000"/>
              <a:gd name="connsiteX1303" fmla="*/ 3719056 w 5794893"/>
              <a:gd name="connsiteY1303" fmla="*/ 3226263 h 6858000"/>
              <a:gd name="connsiteX1304" fmla="*/ 3720284 w 5794893"/>
              <a:gd name="connsiteY1304" fmla="*/ 3228721 h 6858000"/>
              <a:gd name="connsiteX1305" fmla="*/ 3602297 w 5794893"/>
              <a:gd name="connsiteY1305" fmla="*/ 3226263 h 6858000"/>
              <a:gd name="connsiteX1306" fmla="*/ 3602297 w 5794893"/>
              <a:gd name="connsiteY1306" fmla="*/ 3229951 h 6858000"/>
              <a:gd name="connsiteX1307" fmla="*/ 3484310 w 5794893"/>
              <a:gd name="connsiteY1307" fmla="*/ 3226263 h 6858000"/>
              <a:gd name="connsiteX1308" fmla="*/ 3484310 w 5794893"/>
              <a:gd name="connsiteY1308" fmla="*/ 3232409 h 6858000"/>
              <a:gd name="connsiteX1309" fmla="*/ 3366323 w 5794893"/>
              <a:gd name="connsiteY1309" fmla="*/ 3226263 h 6858000"/>
              <a:gd name="connsiteX1310" fmla="*/ 3366323 w 5794893"/>
              <a:gd name="connsiteY1310" fmla="*/ 3234867 h 6858000"/>
              <a:gd name="connsiteX1311" fmla="*/ 3248335 w 5794893"/>
              <a:gd name="connsiteY1311" fmla="*/ 3226263 h 6858000"/>
              <a:gd name="connsiteX1312" fmla="*/ 3248335 w 5794893"/>
              <a:gd name="connsiteY1312" fmla="*/ 3237325 h 6858000"/>
              <a:gd name="connsiteX1313" fmla="*/ 3131578 w 5794893"/>
              <a:gd name="connsiteY1313" fmla="*/ 3226263 h 6858000"/>
              <a:gd name="connsiteX1314" fmla="*/ 3130348 w 5794893"/>
              <a:gd name="connsiteY1314" fmla="*/ 3241012 h 6858000"/>
              <a:gd name="connsiteX1315" fmla="*/ 3011133 w 5794893"/>
              <a:gd name="connsiteY1315" fmla="*/ 3226263 h 6858000"/>
              <a:gd name="connsiteX1316" fmla="*/ 3009903 w 5794893"/>
              <a:gd name="connsiteY1316" fmla="*/ 3243470 h 6858000"/>
              <a:gd name="connsiteX1317" fmla="*/ 2893145 w 5794893"/>
              <a:gd name="connsiteY1317" fmla="*/ 3226263 h 6858000"/>
              <a:gd name="connsiteX1318" fmla="*/ 2890687 w 5794893"/>
              <a:gd name="connsiteY1318" fmla="*/ 3247157 h 6858000"/>
              <a:gd name="connsiteX1319" fmla="*/ 2775158 w 5794893"/>
              <a:gd name="connsiteY1319" fmla="*/ 3226263 h 6858000"/>
              <a:gd name="connsiteX1320" fmla="*/ 2771470 w 5794893"/>
              <a:gd name="connsiteY1320" fmla="*/ 3249616 h 6858000"/>
              <a:gd name="connsiteX1321" fmla="*/ 2657171 w 5794893"/>
              <a:gd name="connsiteY1321" fmla="*/ 3226263 h 6858000"/>
              <a:gd name="connsiteX1322" fmla="*/ 2652255 w 5794893"/>
              <a:gd name="connsiteY1322" fmla="*/ 3253302 h 6858000"/>
              <a:gd name="connsiteX1323" fmla="*/ 2539184 w 5794893"/>
              <a:gd name="connsiteY1323" fmla="*/ 3226263 h 6858000"/>
              <a:gd name="connsiteX1324" fmla="*/ 2533038 w 5794893"/>
              <a:gd name="connsiteY1324" fmla="*/ 3256990 h 6858000"/>
              <a:gd name="connsiteX1325" fmla="*/ 2421196 w 5794893"/>
              <a:gd name="connsiteY1325" fmla="*/ 3226263 h 6858000"/>
              <a:gd name="connsiteX1326" fmla="*/ 2413822 w 5794893"/>
              <a:gd name="connsiteY1326" fmla="*/ 3261906 h 6858000"/>
              <a:gd name="connsiteX1327" fmla="*/ 2303209 w 5794893"/>
              <a:gd name="connsiteY1327" fmla="*/ 3226263 h 6858000"/>
              <a:gd name="connsiteX1328" fmla="*/ 2293377 w 5794893"/>
              <a:gd name="connsiteY1328" fmla="*/ 3265592 h 6858000"/>
              <a:gd name="connsiteX1329" fmla="*/ 2185222 w 5794893"/>
              <a:gd name="connsiteY1329" fmla="*/ 3226263 h 6858000"/>
              <a:gd name="connsiteX1330" fmla="*/ 2172932 w 5794893"/>
              <a:gd name="connsiteY1330" fmla="*/ 3270508 h 6858000"/>
              <a:gd name="connsiteX1331" fmla="*/ 2067235 w 5794893"/>
              <a:gd name="connsiteY1331" fmla="*/ 3226263 h 6858000"/>
              <a:gd name="connsiteX1332" fmla="*/ 2051257 w 5794893"/>
              <a:gd name="connsiteY1332" fmla="*/ 3275425 h 6858000"/>
              <a:gd name="connsiteX1333" fmla="*/ 1949247 w 5794893"/>
              <a:gd name="connsiteY1333" fmla="*/ 3226263 h 6858000"/>
              <a:gd name="connsiteX1334" fmla="*/ 1929583 w 5794893"/>
              <a:gd name="connsiteY1334" fmla="*/ 3279112 h 6858000"/>
              <a:gd name="connsiteX1335" fmla="*/ 1831260 w 5794893"/>
              <a:gd name="connsiteY1335" fmla="*/ 3226263 h 6858000"/>
              <a:gd name="connsiteX1336" fmla="*/ 1806680 w 5794893"/>
              <a:gd name="connsiteY1336" fmla="*/ 3284028 h 6858000"/>
              <a:gd name="connsiteX1337" fmla="*/ 1713273 w 5794893"/>
              <a:gd name="connsiteY1337" fmla="*/ 3226263 h 6858000"/>
              <a:gd name="connsiteX1338" fmla="*/ 1683776 w 5794893"/>
              <a:gd name="connsiteY1338" fmla="*/ 3287715 h 6858000"/>
              <a:gd name="connsiteX1339" fmla="*/ 1595286 w 5794893"/>
              <a:gd name="connsiteY1339" fmla="*/ 3226263 h 6858000"/>
              <a:gd name="connsiteX1340" fmla="*/ 1559643 w 5794893"/>
              <a:gd name="connsiteY1340" fmla="*/ 3290173 h 6858000"/>
              <a:gd name="connsiteX1341" fmla="*/ 1686234 w 5794893"/>
              <a:gd name="connsiteY1341" fmla="*/ 3378663 h 6858000"/>
              <a:gd name="connsiteX1342" fmla="*/ 1719418 w 5794893"/>
              <a:gd name="connsiteY1342" fmla="*/ 3318441 h 6858000"/>
              <a:gd name="connsiteX1343" fmla="*/ 1816512 w 5794893"/>
              <a:gd name="connsiteY1343" fmla="*/ 3378663 h 6858000"/>
              <a:gd name="connsiteX1344" fmla="*/ 1843551 w 5794893"/>
              <a:gd name="connsiteY1344" fmla="*/ 3323358 h 6858000"/>
              <a:gd name="connsiteX1345" fmla="*/ 1938186 w 5794893"/>
              <a:gd name="connsiteY1345" fmla="*/ 3386038 h 6858000"/>
              <a:gd name="connsiteX1346" fmla="*/ 1960308 w 5794893"/>
              <a:gd name="connsiteY1346" fmla="*/ 3334418 h 6858000"/>
              <a:gd name="connsiteX1347" fmla="*/ 2068463 w 5794893"/>
              <a:gd name="connsiteY1347" fmla="*/ 3386038 h 6858000"/>
              <a:gd name="connsiteX1348" fmla="*/ 2085670 w 5794893"/>
              <a:gd name="connsiteY1348" fmla="*/ 3339334 h 6858000"/>
              <a:gd name="connsiteX1349" fmla="*/ 2197512 w 5794893"/>
              <a:gd name="connsiteY1349" fmla="*/ 3386038 h 6858000"/>
              <a:gd name="connsiteX1350" fmla="*/ 2211031 w 5794893"/>
              <a:gd name="connsiteY1350" fmla="*/ 3343022 h 6858000"/>
              <a:gd name="connsiteX1351" fmla="*/ 2326560 w 5794893"/>
              <a:gd name="connsiteY1351" fmla="*/ 3386038 h 6858000"/>
              <a:gd name="connsiteX1352" fmla="*/ 2337622 w 5794893"/>
              <a:gd name="connsiteY1352" fmla="*/ 3347938 h 6858000"/>
              <a:gd name="connsiteX1353" fmla="*/ 2456838 w 5794893"/>
              <a:gd name="connsiteY1353" fmla="*/ 3386038 h 6858000"/>
              <a:gd name="connsiteX1354" fmla="*/ 2465442 w 5794893"/>
              <a:gd name="connsiteY1354" fmla="*/ 3351625 h 6858000"/>
              <a:gd name="connsiteX1355" fmla="*/ 2587115 w 5794893"/>
              <a:gd name="connsiteY1355" fmla="*/ 3386038 h 6858000"/>
              <a:gd name="connsiteX1356" fmla="*/ 2593261 w 5794893"/>
              <a:gd name="connsiteY1356" fmla="*/ 3356541 h 6858000"/>
              <a:gd name="connsiteX1357" fmla="*/ 2716164 w 5794893"/>
              <a:gd name="connsiteY1357" fmla="*/ 3386038 h 6858000"/>
              <a:gd name="connsiteX1358" fmla="*/ 2721081 w 5794893"/>
              <a:gd name="connsiteY1358" fmla="*/ 3360229 h 6858000"/>
              <a:gd name="connsiteX1359" fmla="*/ 2846442 w 5794893"/>
              <a:gd name="connsiteY1359" fmla="*/ 3386038 h 6858000"/>
              <a:gd name="connsiteX1360" fmla="*/ 2850129 w 5794893"/>
              <a:gd name="connsiteY1360" fmla="*/ 3363915 h 6858000"/>
              <a:gd name="connsiteX1361" fmla="*/ 2976720 w 5794893"/>
              <a:gd name="connsiteY1361" fmla="*/ 3386038 h 6858000"/>
              <a:gd name="connsiteX1362" fmla="*/ 2979178 w 5794893"/>
              <a:gd name="connsiteY1362" fmla="*/ 3367603 h 6858000"/>
              <a:gd name="connsiteX1363" fmla="*/ 3105768 w 5794893"/>
              <a:gd name="connsiteY1363" fmla="*/ 3386038 h 6858000"/>
              <a:gd name="connsiteX1364" fmla="*/ 3106997 w 5794893"/>
              <a:gd name="connsiteY1364" fmla="*/ 3370061 h 6858000"/>
              <a:gd name="connsiteX1365" fmla="*/ 3234817 w 5794893"/>
              <a:gd name="connsiteY1365" fmla="*/ 3386038 h 6858000"/>
              <a:gd name="connsiteX1366" fmla="*/ 3236045 w 5794893"/>
              <a:gd name="connsiteY1366" fmla="*/ 3373747 h 6858000"/>
              <a:gd name="connsiteX1367" fmla="*/ 3365094 w 5794893"/>
              <a:gd name="connsiteY1367" fmla="*/ 3386038 h 6858000"/>
              <a:gd name="connsiteX1368" fmla="*/ 3366323 w 5794893"/>
              <a:gd name="connsiteY1368" fmla="*/ 3376205 h 6858000"/>
              <a:gd name="connsiteX1369" fmla="*/ 3495372 w 5794893"/>
              <a:gd name="connsiteY1369" fmla="*/ 3386038 h 6858000"/>
              <a:gd name="connsiteX1370" fmla="*/ 3495372 w 5794893"/>
              <a:gd name="connsiteY1370" fmla="*/ 3378663 h 6858000"/>
              <a:gd name="connsiteX1371" fmla="*/ 3624420 w 5794893"/>
              <a:gd name="connsiteY1371" fmla="*/ 3386038 h 6858000"/>
              <a:gd name="connsiteX1372" fmla="*/ 3624420 w 5794893"/>
              <a:gd name="connsiteY1372" fmla="*/ 3381121 h 6858000"/>
              <a:gd name="connsiteX1373" fmla="*/ 3633024 w 5794893"/>
              <a:gd name="connsiteY1373" fmla="*/ 3381121 h 6858000"/>
              <a:gd name="connsiteX1374" fmla="*/ 3712910 w 5794893"/>
              <a:gd name="connsiteY1374" fmla="*/ 3383580 h 6858000"/>
              <a:gd name="connsiteX1375" fmla="*/ 3712910 w 5794893"/>
              <a:gd name="connsiteY1375" fmla="*/ 3384809 h 6858000"/>
              <a:gd name="connsiteX1376" fmla="*/ 5733441 w 5794893"/>
              <a:gd name="connsiteY1376" fmla="*/ 3426596 h 6858000"/>
              <a:gd name="connsiteX1377" fmla="*/ 3712910 w 5794893"/>
              <a:gd name="connsiteY1377" fmla="*/ 3426596 h 6858000"/>
              <a:gd name="connsiteX1378" fmla="*/ 3712910 w 5794893"/>
              <a:gd name="connsiteY1378" fmla="*/ 3427825 h 6858000"/>
              <a:gd name="connsiteX1379" fmla="*/ 3594923 w 5794893"/>
              <a:gd name="connsiteY1379" fmla="*/ 3425367 h 6858000"/>
              <a:gd name="connsiteX1380" fmla="*/ 3594923 w 5794893"/>
              <a:gd name="connsiteY1380" fmla="*/ 3429054 h 6858000"/>
              <a:gd name="connsiteX1381" fmla="*/ 3476936 w 5794893"/>
              <a:gd name="connsiteY1381" fmla="*/ 3425367 h 6858000"/>
              <a:gd name="connsiteX1382" fmla="*/ 3476936 w 5794893"/>
              <a:gd name="connsiteY1382" fmla="*/ 3431513 h 6858000"/>
              <a:gd name="connsiteX1383" fmla="*/ 3358948 w 5794893"/>
              <a:gd name="connsiteY1383" fmla="*/ 3425367 h 6858000"/>
              <a:gd name="connsiteX1384" fmla="*/ 3358948 w 5794893"/>
              <a:gd name="connsiteY1384" fmla="*/ 3433971 h 6858000"/>
              <a:gd name="connsiteX1385" fmla="*/ 3240961 w 5794893"/>
              <a:gd name="connsiteY1385" fmla="*/ 3425367 h 6858000"/>
              <a:gd name="connsiteX1386" fmla="*/ 3240961 w 5794893"/>
              <a:gd name="connsiteY1386" fmla="*/ 3436429 h 6858000"/>
              <a:gd name="connsiteX1387" fmla="*/ 3122974 w 5794893"/>
              <a:gd name="connsiteY1387" fmla="*/ 3425367 h 6858000"/>
              <a:gd name="connsiteX1388" fmla="*/ 3121746 w 5794893"/>
              <a:gd name="connsiteY1388" fmla="*/ 3440115 h 6858000"/>
              <a:gd name="connsiteX1389" fmla="*/ 3003758 w 5794893"/>
              <a:gd name="connsiteY1389" fmla="*/ 3425367 h 6858000"/>
              <a:gd name="connsiteX1390" fmla="*/ 3002529 w 5794893"/>
              <a:gd name="connsiteY1390" fmla="*/ 3442573 h 6858000"/>
              <a:gd name="connsiteX1391" fmla="*/ 2885771 w 5794893"/>
              <a:gd name="connsiteY1391" fmla="*/ 3425367 h 6858000"/>
              <a:gd name="connsiteX1392" fmla="*/ 2883313 w 5794893"/>
              <a:gd name="connsiteY1392" fmla="*/ 3446261 h 6858000"/>
              <a:gd name="connsiteX1393" fmla="*/ 2767784 w 5794893"/>
              <a:gd name="connsiteY1393" fmla="*/ 3425367 h 6858000"/>
              <a:gd name="connsiteX1394" fmla="*/ 2764096 w 5794893"/>
              <a:gd name="connsiteY1394" fmla="*/ 3449947 h 6858000"/>
              <a:gd name="connsiteX1395" fmla="*/ 2649797 w 5794893"/>
              <a:gd name="connsiteY1395" fmla="*/ 3425367 h 6858000"/>
              <a:gd name="connsiteX1396" fmla="*/ 2644881 w 5794893"/>
              <a:gd name="connsiteY1396" fmla="*/ 3452405 h 6858000"/>
              <a:gd name="connsiteX1397" fmla="*/ 2531809 w 5794893"/>
              <a:gd name="connsiteY1397" fmla="*/ 3425367 h 6858000"/>
              <a:gd name="connsiteX1398" fmla="*/ 2525664 w 5794893"/>
              <a:gd name="connsiteY1398" fmla="*/ 3457322 h 6858000"/>
              <a:gd name="connsiteX1399" fmla="*/ 2413822 w 5794893"/>
              <a:gd name="connsiteY1399" fmla="*/ 3425367 h 6858000"/>
              <a:gd name="connsiteX1400" fmla="*/ 2406448 w 5794893"/>
              <a:gd name="connsiteY1400" fmla="*/ 3461009 h 6858000"/>
              <a:gd name="connsiteX1401" fmla="*/ 2295835 w 5794893"/>
              <a:gd name="connsiteY1401" fmla="*/ 3425367 h 6858000"/>
              <a:gd name="connsiteX1402" fmla="*/ 2286003 w 5794893"/>
              <a:gd name="connsiteY1402" fmla="*/ 3464696 h 6858000"/>
              <a:gd name="connsiteX1403" fmla="*/ 2177848 w 5794893"/>
              <a:gd name="connsiteY1403" fmla="*/ 3425367 h 6858000"/>
              <a:gd name="connsiteX1404" fmla="*/ 2165557 w 5794893"/>
              <a:gd name="connsiteY1404" fmla="*/ 3469612 h 6858000"/>
              <a:gd name="connsiteX1405" fmla="*/ 2059860 w 5794893"/>
              <a:gd name="connsiteY1405" fmla="*/ 3425367 h 6858000"/>
              <a:gd name="connsiteX1406" fmla="*/ 2043882 w 5794893"/>
              <a:gd name="connsiteY1406" fmla="*/ 3474528 h 6858000"/>
              <a:gd name="connsiteX1407" fmla="*/ 1941873 w 5794893"/>
              <a:gd name="connsiteY1407" fmla="*/ 3425367 h 6858000"/>
              <a:gd name="connsiteX1408" fmla="*/ 1922209 w 5794893"/>
              <a:gd name="connsiteY1408" fmla="*/ 3478216 h 6858000"/>
              <a:gd name="connsiteX1409" fmla="*/ 1823886 w 5794893"/>
              <a:gd name="connsiteY1409" fmla="*/ 3425367 h 6858000"/>
              <a:gd name="connsiteX1410" fmla="*/ 1799305 w 5794893"/>
              <a:gd name="connsiteY1410" fmla="*/ 3483132 h 6858000"/>
              <a:gd name="connsiteX1411" fmla="*/ 1705899 w 5794893"/>
              <a:gd name="connsiteY1411" fmla="*/ 3425367 h 6858000"/>
              <a:gd name="connsiteX1412" fmla="*/ 1676402 w 5794893"/>
              <a:gd name="connsiteY1412" fmla="*/ 3488048 h 6858000"/>
              <a:gd name="connsiteX1413" fmla="*/ 1587912 w 5794893"/>
              <a:gd name="connsiteY1413" fmla="*/ 3425367 h 6858000"/>
              <a:gd name="connsiteX1414" fmla="*/ 1555303 w 5794893"/>
              <a:gd name="connsiteY1414" fmla="*/ 3483837 h 6858000"/>
              <a:gd name="connsiteX1415" fmla="*/ 1476069 w 5794893"/>
              <a:gd name="connsiteY1415" fmla="*/ 3420451 h 6858000"/>
              <a:gd name="connsiteX1416" fmla="*/ 1439198 w 5794893"/>
              <a:gd name="connsiteY1416" fmla="*/ 3479444 h 6858000"/>
              <a:gd name="connsiteX1417" fmla="*/ 1555957 w 5794893"/>
              <a:gd name="connsiteY1417" fmla="*/ 3572851 h 6858000"/>
              <a:gd name="connsiteX1418" fmla="*/ 1591188 w 5794893"/>
              <a:gd name="connsiteY1418" fmla="*/ 3516482 h 6858000"/>
              <a:gd name="connsiteX1419" fmla="*/ 1678860 w 5794893"/>
              <a:gd name="connsiteY1419" fmla="*/ 3577767 h 6858000"/>
              <a:gd name="connsiteX1420" fmla="*/ 1712043 w 5794893"/>
              <a:gd name="connsiteY1420" fmla="*/ 3517545 h 6858000"/>
              <a:gd name="connsiteX1421" fmla="*/ 1809138 w 5794893"/>
              <a:gd name="connsiteY1421" fmla="*/ 3577767 h 6858000"/>
              <a:gd name="connsiteX1422" fmla="*/ 1836176 w 5794893"/>
              <a:gd name="connsiteY1422" fmla="*/ 3522461 h 6858000"/>
              <a:gd name="connsiteX1423" fmla="*/ 1939415 w 5794893"/>
              <a:gd name="connsiteY1423" fmla="*/ 3577767 h 6858000"/>
              <a:gd name="connsiteX1424" fmla="*/ 1961538 w 5794893"/>
              <a:gd name="connsiteY1424" fmla="*/ 3526147 h 6858000"/>
              <a:gd name="connsiteX1425" fmla="*/ 2069693 w 5794893"/>
              <a:gd name="connsiteY1425" fmla="*/ 3577767 h 6858000"/>
              <a:gd name="connsiteX1426" fmla="*/ 2086899 w 5794893"/>
              <a:gd name="connsiteY1426" fmla="*/ 3531064 h 6858000"/>
              <a:gd name="connsiteX1427" fmla="*/ 2198741 w 5794893"/>
              <a:gd name="connsiteY1427" fmla="*/ 3577767 h 6858000"/>
              <a:gd name="connsiteX1428" fmla="*/ 2212261 w 5794893"/>
              <a:gd name="connsiteY1428" fmla="*/ 3534751 h 6858000"/>
              <a:gd name="connsiteX1429" fmla="*/ 2327790 w 5794893"/>
              <a:gd name="connsiteY1429" fmla="*/ 3577767 h 6858000"/>
              <a:gd name="connsiteX1430" fmla="*/ 2338851 w 5794893"/>
              <a:gd name="connsiteY1430" fmla="*/ 3539667 h 6858000"/>
              <a:gd name="connsiteX1431" fmla="*/ 2458067 w 5794893"/>
              <a:gd name="connsiteY1431" fmla="*/ 3577767 h 6858000"/>
              <a:gd name="connsiteX1432" fmla="*/ 2466670 w 5794893"/>
              <a:gd name="connsiteY1432" fmla="*/ 3543354 h 6858000"/>
              <a:gd name="connsiteX1433" fmla="*/ 2588345 w 5794893"/>
              <a:gd name="connsiteY1433" fmla="*/ 3577767 h 6858000"/>
              <a:gd name="connsiteX1434" fmla="*/ 2594490 w 5794893"/>
              <a:gd name="connsiteY1434" fmla="*/ 3548270 h 6858000"/>
              <a:gd name="connsiteX1435" fmla="*/ 2717393 w 5794893"/>
              <a:gd name="connsiteY1435" fmla="*/ 3577767 h 6858000"/>
              <a:gd name="connsiteX1436" fmla="*/ 2722309 w 5794893"/>
              <a:gd name="connsiteY1436" fmla="*/ 3551958 h 6858000"/>
              <a:gd name="connsiteX1437" fmla="*/ 2847670 w 5794893"/>
              <a:gd name="connsiteY1437" fmla="*/ 3577767 h 6858000"/>
              <a:gd name="connsiteX1438" fmla="*/ 2851358 w 5794893"/>
              <a:gd name="connsiteY1438" fmla="*/ 3555644 h 6858000"/>
              <a:gd name="connsiteX1439" fmla="*/ 2977948 w 5794893"/>
              <a:gd name="connsiteY1439" fmla="*/ 3577767 h 6858000"/>
              <a:gd name="connsiteX1440" fmla="*/ 2980406 w 5794893"/>
              <a:gd name="connsiteY1440" fmla="*/ 3559332 h 6858000"/>
              <a:gd name="connsiteX1441" fmla="*/ 3106997 w 5794893"/>
              <a:gd name="connsiteY1441" fmla="*/ 3577767 h 6858000"/>
              <a:gd name="connsiteX1442" fmla="*/ 3108226 w 5794893"/>
              <a:gd name="connsiteY1442" fmla="*/ 3561790 h 6858000"/>
              <a:gd name="connsiteX1443" fmla="*/ 3236045 w 5794893"/>
              <a:gd name="connsiteY1443" fmla="*/ 3577767 h 6858000"/>
              <a:gd name="connsiteX1444" fmla="*/ 3237275 w 5794893"/>
              <a:gd name="connsiteY1444" fmla="*/ 3565477 h 6858000"/>
              <a:gd name="connsiteX1445" fmla="*/ 3366323 w 5794893"/>
              <a:gd name="connsiteY1445" fmla="*/ 3577767 h 6858000"/>
              <a:gd name="connsiteX1446" fmla="*/ 3367552 w 5794893"/>
              <a:gd name="connsiteY1446" fmla="*/ 3567935 h 6858000"/>
              <a:gd name="connsiteX1447" fmla="*/ 3496600 w 5794893"/>
              <a:gd name="connsiteY1447" fmla="*/ 3577767 h 6858000"/>
              <a:gd name="connsiteX1448" fmla="*/ 3496600 w 5794893"/>
              <a:gd name="connsiteY1448" fmla="*/ 3570393 h 6858000"/>
              <a:gd name="connsiteX1449" fmla="*/ 3625649 w 5794893"/>
              <a:gd name="connsiteY1449" fmla="*/ 3577767 h 6858000"/>
              <a:gd name="connsiteX1450" fmla="*/ 3625649 w 5794893"/>
              <a:gd name="connsiteY1450" fmla="*/ 3572851 h 6858000"/>
              <a:gd name="connsiteX1451" fmla="*/ 3634252 w 5794893"/>
              <a:gd name="connsiteY1451" fmla="*/ 3572851 h 6858000"/>
              <a:gd name="connsiteX1452" fmla="*/ 3714140 w 5794893"/>
              <a:gd name="connsiteY1452" fmla="*/ 3575309 h 6858000"/>
              <a:gd name="connsiteX1453" fmla="*/ 3714140 w 5794893"/>
              <a:gd name="connsiteY1453" fmla="*/ 3576538 h 6858000"/>
              <a:gd name="connsiteX1454" fmla="*/ 5530652 w 5794893"/>
              <a:gd name="connsiteY1454" fmla="*/ 3610951 h 6858000"/>
              <a:gd name="connsiteX1455" fmla="*/ 3715368 w 5794893"/>
              <a:gd name="connsiteY1455" fmla="*/ 3610951 h 6858000"/>
              <a:gd name="connsiteX1456" fmla="*/ 3715368 w 5794893"/>
              <a:gd name="connsiteY1456" fmla="*/ 3613409 h 6858000"/>
              <a:gd name="connsiteX1457" fmla="*/ 3597381 w 5794893"/>
              <a:gd name="connsiteY1457" fmla="*/ 3610951 h 6858000"/>
              <a:gd name="connsiteX1458" fmla="*/ 3597381 w 5794893"/>
              <a:gd name="connsiteY1458" fmla="*/ 3614638 h 6858000"/>
              <a:gd name="connsiteX1459" fmla="*/ 3479394 w 5794893"/>
              <a:gd name="connsiteY1459" fmla="*/ 3610951 h 6858000"/>
              <a:gd name="connsiteX1460" fmla="*/ 3479394 w 5794893"/>
              <a:gd name="connsiteY1460" fmla="*/ 3617096 h 6858000"/>
              <a:gd name="connsiteX1461" fmla="*/ 3361406 w 5794893"/>
              <a:gd name="connsiteY1461" fmla="*/ 3610951 h 6858000"/>
              <a:gd name="connsiteX1462" fmla="*/ 3361406 w 5794893"/>
              <a:gd name="connsiteY1462" fmla="*/ 3619554 h 6858000"/>
              <a:gd name="connsiteX1463" fmla="*/ 3243419 w 5794893"/>
              <a:gd name="connsiteY1463" fmla="*/ 3610951 h 6858000"/>
              <a:gd name="connsiteX1464" fmla="*/ 3243419 w 5794893"/>
              <a:gd name="connsiteY1464" fmla="*/ 3622012 h 6858000"/>
              <a:gd name="connsiteX1465" fmla="*/ 3125432 w 5794893"/>
              <a:gd name="connsiteY1465" fmla="*/ 3610951 h 6858000"/>
              <a:gd name="connsiteX1466" fmla="*/ 3124204 w 5794893"/>
              <a:gd name="connsiteY1466" fmla="*/ 3625700 h 6858000"/>
              <a:gd name="connsiteX1467" fmla="*/ 3006216 w 5794893"/>
              <a:gd name="connsiteY1467" fmla="*/ 3610951 h 6858000"/>
              <a:gd name="connsiteX1468" fmla="*/ 3004987 w 5794893"/>
              <a:gd name="connsiteY1468" fmla="*/ 3628158 h 6858000"/>
              <a:gd name="connsiteX1469" fmla="*/ 2888229 w 5794893"/>
              <a:gd name="connsiteY1469" fmla="*/ 3610951 h 6858000"/>
              <a:gd name="connsiteX1470" fmla="*/ 2885771 w 5794893"/>
              <a:gd name="connsiteY1470" fmla="*/ 3631844 h 6858000"/>
              <a:gd name="connsiteX1471" fmla="*/ 2770242 w 5794893"/>
              <a:gd name="connsiteY1471" fmla="*/ 3610951 h 6858000"/>
              <a:gd name="connsiteX1472" fmla="*/ 2766554 w 5794893"/>
              <a:gd name="connsiteY1472" fmla="*/ 3635532 h 6858000"/>
              <a:gd name="connsiteX1473" fmla="*/ 2652255 w 5794893"/>
              <a:gd name="connsiteY1473" fmla="*/ 3610951 h 6858000"/>
              <a:gd name="connsiteX1474" fmla="*/ 2647339 w 5794893"/>
              <a:gd name="connsiteY1474" fmla="*/ 3637990 h 6858000"/>
              <a:gd name="connsiteX1475" fmla="*/ 2534268 w 5794893"/>
              <a:gd name="connsiteY1475" fmla="*/ 3610951 h 6858000"/>
              <a:gd name="connsiteX1476" fmla="*/ 2528122 w 5794893"/>
              <a:gd name="connsiteY1476" fmla="*/ 3642906 h 6858000"/>
              <a:gd name="connsiteX1477" fmla="*/ 2416280 w 5794893"/>
              <a:gd name="connsiteY1477" fmla="*/ 3610951 h 6858000"/>
              <a:gd name="connsiteX1478" fmla="*/ 2408906 w 5794893"/>
              <a:gd name="connsiteY1478" fmla="*/ 3646593 h 6858000"/>
              <a:gd name="connsiteX1479" fmla="*/ 2298293 w 5794893"/>
              <a:gd name="connsiteY1479" fmla="*/ 3610951 h 6858000"/>
              <a:gd name="connsiteX1480" fmla="*/ 2288461 w 5794893"/>
              <a:gd name="connsiteY1480" fmla="*/ 3650280 h 6858000"/>
              <a:gd name="connsiteX1481" fmla="*/ 2180306 w 5794893"/>
              <a:gd name="connsiteY1481" fmla="*/ 3610951 h 6858000"/>
              <a:gd name="connsiteX1482" fmla="*/ 2168015 w 5794893"/>
              <a:gd name="connsiteY1482" fmla="*/ 3655197 h 6858000"/>
              <a:gd name="connsiteX1483" fmla="*/ 2062319 w 5794893"/>
              <a:gd name="connsiteY1483" fmla="*/ 3610951 h 6858000"/>
              <a:gd name="connsiteX1484" fmla="*/ 2046340 w 5794893"/>
              <a:gd name="connsiteY1484" fmla="*/ 3660113 h 6858000"/>
              <a:gd name="connsiteX1485" fmla="*/ 1944331 w 5794893"/>
              <a:gd name="connsiteY1485" fmla="*/ 3610951 h 6858000"/>
              <a:gd name="connsiteX1486" fmla="*/ 1924667 w 5794893"/>
              <a:gd name="connsiteY1486" fmla="*/ 3663799 h 6858000"/>
              <a:gd name="connsiteX1487" fmla="*/ 1826344 w 5794893"/>
              <a:gd name="connsiteY1487" fmla="*/ 3610951 h 6858000"/>
              <a:gd name="connsiteX1488" fmla="*/ 1801763 w 5794893"/>
              <a:gd name="connsiteY1488" fmla="*/ 3668715 h 6858000"/>
              <a:gd name="connsiteX1489" fmla="*/ 1708357 w 5794893"/>
              <a:gd name="connsiteY1489" fmla="*/ 3610951 h 6858000"/>
              <a:gd name="connsiteX1490" fmla="*/ 1678860 w 5794893"/>
              <a:gd name="connsiteY1490" fmla="*/ 3673631 h 6858000"/>
              <a:gd name="connsiteX1491" fmla="*/ 1590370 w 5794893"/>
              <a:gd name="connsiteY1491" fmla="*/ 3610951 h 6858000"/>
              <a:gd name="connsiteX1492" fmla="*/ 1556054 w 5794893"/>
              <a:gd name="connsiteY1492" fmla="*/ 3672481 h 6858000"/>
              <a:gd name="connsiteX1493" fmla="*/ 1476069 w 5794893"/>
              <a:gd name="connsiteY1493" fmla="*/ 3608493 h 6858000"/>
              <a:gd name="connsiteX1494" fmla="*/ 1439198 w 5794893"/>
              <a:gd name="connsiteY1494" fmla="*/ 3667487 h 6858000"/>
              <a:gd name="connsiteX1495" fmla="*/ 1555957 w 5794893"/>
              <a:gd name="connsiteY1495" fmla="*/ 3760894 h 6858000"/>
              <a:gd name="connsiteX1496" fmla="*/ 1592828 w 5794893"/>
              <a:gd name="connsiteY1496" fmla="*/ 3701900 h 6858000"/>
              <a:gd name="connsiteX1497" fmla="*/ 1588815 w 5794893"/>
              <a:gd name="connsiteY1497" fmla="*/ 3698689 h 6858000"/>
              <a:gd name="connsiteX1498" fmla="*/ 1681318 w 5794893"/>
              <a:gd name="connsiteY1498" fmla="*/ 3763352 h 6858000"/>
              <a:gd name="connsiteX1499" fmla="*/ 1714501 w 5794893"/>
              <a:gd name="connsiteY1499" fmla="*/ 3703128 h 6858000"/>
              <a:gd name="connsiteX1500" fmla="*/ 1811596 w 5794893"/>
              <a:gd name="connsiteY1500" fmla="*/ 3763352 h 6858000"/>
              <a:gd name="connsiteX1501" fmla="*/ 1838634 w 5794893"/>
              <a:gd name="connsiteY1501" fmla="*/ 3708044 h 6858000"/>
              <a:gd name="connsiteX1502" fmla="*/ 1941873 w 5794893"/>
              <a:gd name="connsiteY1502" fmla="*/ 3763352 h 6858000"/>
              <a:gd name="connsiteX1503" fmla="*/ 1963996 w 5794893"/>
              <a:gd name="connsiteY1503" fmla="*/ 3711732 h 6858000"/>
              <a:gd name="connsiteX1504" fmla="*/ 2072151 w 5794893"/>
              <a:gd name="connsiteY1504" fmla="*/ 3763352 h 6858000"/>
              <a:gd name="connsiteX1505" fmla="*/ 2089357 w 5794893"/>
              <a:gd name="connsiteY1505" fmla="*/ 3716648 h 6858000"/>
              <a:gd name="connsiteX1506" fmla="*/ 2201199 w 5794893"/>
              <a:gd name="connsiteY1506" fmla="*/ 3763352 h 6858000"/>
              <a:gd name="connsiteX1507" fmla="*/ 2214719 w 5794893"/>
              <a:gd name="connsiteY1507" fmla="*/ 3720335 h 6858000"/>
              <a:gd name="connsiteX1508" fmla="*/ 2330248 w 5794893"/>
              <a:gd name="connsiteY1508" fmla="*/ 3763352 h 6858000"/>
              <a:gd name="connsiteX1509" fmla="*/ 2341309 w 5794893"/>
              <a:gd name="connsiteY1509" fmla="*/ 3725251 h 6858000"/>
              <a:gd name="connsiteX1510" fmla="*/ 2460525 w 5794893"/>
              <a:gd name="connsiteY1510" fmla="*/ 3763352 h 6858000"/>
              <a:gd name="connsiteX1511" fmla="*/ 2469128 w 5794893"/>
              <a:gd name="connsiteY1511" fmla="*/ 3728939 h 6858000"/>
              <a:gd name="connsiteX1512" fmla="*/ 2590803 w 5794893"/>
              <a:gd name="connsiteY1512" fmla="*/ 3763352 h 6858000"/>
              <a:gd name="connsiteX1513" fmla="*/ 2596948 w 5794893"/>
              <a:gd name="connsiteY1513" fmla="*/ 3733855 h 6858000"/>
              <a:gd name="connsiteX1514" fmla="*/ 2719851 w 5794893"/>
              <a:gd name="connsiteY1514" fmla="*/ 3763352 h 6858000"/>
              <a:gd name="connsiteX1515" fmla="*/ 2724767 w 5794893"/>
              <a:gd name="connsiteY1515" fmla="*/ 3737541 h 6858000"/>
              <a:gd name="connsiteX1516" fmla="*/ 2850129 w 5794893"/>
              <a:gd name="connsiteY1516" fmla="*/ 3763352 h 6858000"/>
              <a:gd name="connsiteX1517" fmla="*/ 2853816 w 5794893"/>
              <a:gd name="connsiteY1517" fmla="*/ 3741229 h 6858000"/>
              <a:gd name="connsiteX1518" fmla="*/ 2980406 w 5794893"/>
              <a:gd name="connsiteY1518" fmla="*/ 3763352 h 6858000"/>
              <a:gd name="connsiteX1519" fmla="*/ 2982864 w 5794893"/>
              <a:gd name="connsiteY1519" fmla="*/ 3744915 h 6858000"/>
              <a:gd name="connsiteX1520" fmla="*/ 3109455 w 5794893"/>
              <a:gd name="connsiteY1520" fmla="*/ 3763352 h 6858000"/>
              <a:gd name="connsiteX1521" fmla="*/ 3110684 w 5794893"/>
              <a:gd name="connsiteY1521" fmla="*/ 3747373 h 6858000"/>
              <a:gd name="connsiteX1522" fmla="*/ 3238503 w 5794893"/>
              <a:gd name="connsiteY1522" fmla="*/ 3763352 h 6858000"/>
              <a:gd name="connsiteX1523" fmla="*/ 3239733 w 5794893"/>
              <a:gd name="connsiteY1523" fmla="*/ 3751061 h 6858000"/>
              <a:gd name="connsiteX1524" fmla="*/ 3368781 w 5794893"/>
              <a:gd name="connsiteY1524" fmla="*/ 3763352 h 6858000"/>
              <a:gd name="connsiteX1525" fmla="*/ 3370010 w 5794893"/>
              <a:gd name="connsiteY1525" fmla="*/ 3753519 h 6858000"/>
              <a:gd name="connsiteX1526" fmla="*/ 3499058 w 5794893"/>
              <a:gd name="connsiteY1526" fmla="*/ 3763352 h 6858000"/>
              <a:gd name="connsiteX1527" fmla="*/ 3499058 w 5794893"/>
              <a:gd name="connsiteY1527" fmla="*/ 3755977 h 6858000"/>
              <a:gd name="connsiteX1528" fmla="*/ 3628107 w 5794893"/>
              <a:gd name="connsiteY1528" fmla="*/ 3763352 h 6858000"/>
              <a:gd name="connsiteX1529" fmla="*/ 3628107 w 5794893"/>
              <a:gd name="connsiteY1529" fmla="*/ 3759664 h 6858000"/>
              <a:gd name="connsiteX1530" fmla="*/ 3636710 w 5794893"/>
              <a:gd name="connsiteY1530" fmla="*/ 3759664 h 6858000"/>
              <a:gd name="connsiteX1531" fmla="*/ 3716598 w 5794893"/>
              <a:gd name="connsiteY1531" fmla="*/ 3762122 h 6858000"/>
              <a:gd name="connsiteX1532" fmla="*/ 3716598 w 5794893"/>
              <a:gd name="connsiteY1532" fmla="*/ 3763352 h 6858000"/>
              <a:gd name="connsiteX1533" fmla="*/ 5577355 w 5794893"/>
              <a:gd name="connsiteY1533" fmla="*/ 3802681 h 6858000"/>
              <a:gd name="connsiteX1534" fmla="*/ 3716598 w 5794893"/>
              <a:gd name="connsiteY1534" fmla="*/ 3802681 h 6858000"/>
              <a:gd name="connsiteX1535" fmla="*/ 3717826 w 5794893"/>
              <a:gd name="connsiteY1535" fmla="*/ 3805139 h 6858000"/>
              <a:gd name="connsiteX1536" fmla="*/ 3599839 w 5794893"/>
              <a:gd name="connsiteY1536" fmla="*/ 3802681 h 6858000"/>
              <a:gd name="connsiteX1537" fmla="*/ 3599839 w 5794893"/>
              <a:gd name="connsiteY1537" fmla="*/ 3806367 h 6858000"/>
              <a:gd name="connsiteX1538" fmla="*/ 3481852 w 5794893"/>
              <a:gd name="connsiteY1538" fmla="*/ 3802681 h 6858000"/>
              <a:gd name="connsiteX1539" fmla="*/ 3481852 w 5794893"/>
              <a:gd name="connsiteY1539" fmla="*/ 3808825 h 6858000"/>
              <a:gd name="connsiteX1540" fmla="*/ 3363865 w 5794893"/>
              <a:gd name="connsiteY1540" fmla="*/ 3802681 h 6858000"/>
              <a:gd name="connsiteX1541" fmla="*/ 3363865 w 5794893"/>
              <a:gd name="connsiteY1541" fmla="*/ 3811283 h 6858000"/>
              <a:gd name="connsiteX1542" fmla="*/ 3245877 w 5794893"/>
              <a:gd name="connsiteY1542" fmla="*/ 3802681 h 6858000"/>
              <a:gd name="connsiteX1543" fmla="*/ 3245877 w 5794893"/>
              <a:gd name="connsiteY1543" fmla="*/ 3813741 h 6858000"/>
              <a:gd name="connsiteX1544" fmla="*/ 3127890 w 5794893"/>
              <a:gd name="connsiteY1544" fmla="*/ 3802681 h 6858000"/>
              <a:gd name="connsiteX1545" fmla="*/ 3126662 w 5794893"/>
              <a:gd name="connsiteY1545" fmla="*/ 3817429 h 6858000"/>
              <a:gd name="connsiteX1546" fmla="*/ 3008674 w 5794893"/>
              <a:gd name="connsiteY1546" fmla="*/ 3802681 h 6858000"/>
              <a:gd name="connsiteX1547" fmla="*/ 3007445 w 5794893"/>
              <a:gd name="connsiteY1547" fmla="*/ 3819887 h 6858000"/>
              <a:gd name="connsiteX1548" fmla="*/ 2890687 w 5794893"/>
              <a:gd name="connsiteY1548" fmla="*/ 3802681 h 6858000"/>
              <a:gd name="connsiteX1549" fmla="*/ 2888229 w 5794893"/>
              <a:gd name="connsiteY1549" fmla="*/ 3823574 h 6858000"/>
              <a:gd name="connsiteX1550" fmla="*/ 2772700 w 5794893"/>
              <a:gd name="connsiteY1550" fmla="*/ 3802681 h 6858000"/>
              <a:gd name="connsiteX1551" fmla="*/ 2769012 w 5794893"/>
              <a:gd name="connsiteY1551" fmla="*/ 3826032 h 6858000"/>
              <a:gd name="connsiteX1552" fmla="*/ 2654713 w 5794893"/>
              <a:gd name="connsiteY1552" fmla="*/ 3802681 h 6858000"/>
              <a:gd name="connsiteX1553" fmla="*/ 2649797 w 5794893"/>
              <a:gd name="connsiteY1553" fmla="*/ 3829719 h 6858000"/>
              <a:gd name="connsiteX1554" fmla="*/ 2536726 w 5794893"/>
              <a:gd name="connsiteY1554" fmla="*/ 3802681 h 6858000"/>
              <a:gd name="connsiteX1555" fmla="*/ 2530580 w 5794893"/>
              <a:gd name="connsiteY1555" fmla="*/ 3833406 h 6858000"/>
              <a:gd name="connsiteX1556" fmla="*/ 2418738 w 5794893"/>
              <a:gd name="connsiteY1556" fmla="*/ 3802681 h 6858000"/>
              <a:gd name="connsiteX1557" fmla="*/ 2411364 w 5794893"/>
              <a:gd name="connsiteY1557" fmla="*/ 3838322 h 6858000"/>
              <a:gd name="connsiteX1558" fmla="*/ 2300751 w 5794893"/>
              <a:gd name="connsiteY1558" fmla="*/ 3802681 h 6858000"/>
              <a:gd name="connsiteX1559" fmla="*/ 2290919 w 5794893"/>
              <a:gd name="connsiteY1559" fmla="*/ 3842010 h 6858000"/>
              <a:gd name="connsiteX1560" fmla="*/ 2182764 w 5794893"/>
              <a:gd name="connsiteY1560" fmla="*/ 3802681 h 6858000"/>
              <a:gd name="connsiteX1561" fmla="*/ 2170474 w 5794893"/>
              <a:gd name="connsiteY1561" fmla="*/ 3846926 h 6858000"/>
              <a:gd name="connsiteX1562" fmla="*/ 2064777 w 5794893"/>
              <a:gd name="connsiteY1562" fmla="*/ 3802681 h 6858000"/>
              <a:gd name="connsiteX1563" fmla="*/ 2048799 w 5794893"/>
              <a:gd name="connsiteY1563" fmla="*/ 3851842 h 6858000"/>
              <a:gd name="connsiteX1564" fmla="*/ 1946789 w 5794893"/>
              <a:gd name="connsiteY1564" fmla="*/ 3802681 h 6858000"/>
              <a:gd name="connsiteX1565" fmla="*/ 1927125 w 5794893"/>
              <a:gd name="connsiteY1565" fmla="*/ 3855528 h 6858000"/>
              <a:gd name="connsiteX1566" fmla="*/ 1828802 w 5794893"/>
              <a:gd name="connsiteY1566" fmla="*/ 3802681 h 6858000"/>
              <a:gd name="connsiteX1567" fmla="*/ 1804221 w 5794893"/>
              <a:gd name="connsiteY1567" fmla="*/ 3860445 h 6858000"/>
              <a:gd name="connsiteX1568" fmla="*/ 1710815 w 5794893"/>
              <a:gd name="connsiteY1568" fmla="*/ 3802681 h 6858000"/>
              <a:gd name="connsiteX1569" fmla="*/ 1681318 w 5794893"/>
              <a:gd name="connsiteY1569" fmla="*/ 3864132 h 6858000"/>
              <a:gd name="connsiteX1570" fmla="*/ 1592828 w 5794893"/>
              <a:gd name="connsiteY1570" fmla="*/ 3802681 h 6858000"/>
              <a:gd name="connsiteX1571" fmla="*/ 1557754 w 5794893"/>
              <a:gd name="connsiteY1571" fmla="*/ 3865570 h 6858000"/>
              <a:gd name="connsiteX1572" fmla="*/ 1476069 w 5794893"/>
              <a:gd name="connsiteY1572" fmla="*/ 3800223 h 6858000"/>
              <a:gd name="connsiteX1573" fmla="*/ 1439198 w 5794893"/>
              <a:gd name="connsiteY1573" fmla="*/ 3859216 h 6858000"/>
              <a:gd name="connsiteX1574" fmla="*/ 1555957 w 5794893"/>
              <a:gd name="connsiteY1574" fmla="*/ 3952623 h 6858000"/>
              <a:gd name="connsiteX1575" fmla="*/ 1592828 w 5794893"/>
              <a:gd name="connsiteY1575" fmla="*/ 3893629 h 6858000"/>
              <a:gd name="connsiteX1576" fmla="*/ 1571795 w 5794893"/>
              <a:gd name="connsiteY1576" fmla="*/ 3876803 h 6858000"/>
              <a:gd name="connsiteX1577" fmla="*/ 1683776 w 5794893"/>
              <a:gd name="connsiteY1577" fmla="*/ 3955081 h 6858000"/>
              <a:gd name="connsiteX1578" fmla="*/ 1716959 w 5794893"/>
              <a:gd name="connsiteY1578" fmla="*/ 3894858 h 6858000"/>
              <a:gd name="connsiteX1579" fmla="*/ 1814054 w 5794893"/>
              <a:gd name="connsiteY1579" fmla="*/ 3955081 h 6858000"/>
              <a:gd name="connsiteX1580" fmla="*/ 1841092 w 5794893"/>
              <a:gd name="connsiteY1580" fmla="*/ 3899774 h 6858000"/>
              <a:gd name="connsiteX1581" fmla="*/ 1944331 w 5794893"/>
              <a:gd name="connsiteY1581" fmla="*/ 3955081 h 6858000"/>
              <a:gd name="connsiteX1582" fmla="*/ 1966454 w 5794893"/>
              <a:gd name="connsiteY1582" fmla="*/ 3903461 h 6858000"/>
              <a:gd name="connsiteX1583" fmla="*/ 2074609 w 5794893"/>
              <a:gd name="connsiteY1583" fmla="*/ 3955081 h 6858000"/>
              <a:gd name="connsiteX1584" fmla="*/ 2091815 w 5794893"/>
              <a:gd name="connsiteY1584" fmla="*/ 3908378 h 6858000"/>
              <a:gd name="connsiteX1585" fmla="*/ 2203657 w 5794893"/>
              <a:gd name="connsiteY1585" fmla="*/ 3955081 h 6858000"/>
              <a:gd name="connsiteX1586" fmla="*/ 2217177 w 5794893"/>
              <a:gd name="connsiteY1586" fmla="*/ 3912064 h 6858000"/>
              <a:gd name="connsiteX1587" fmla="*/ 2332706 w 5794893"/>
              <a:gd name="connsiteY1587" fmla="*/ 3955081 h 6858000"/>
              <a:gd name="connsiteX1588" fmla="*/ 2343767 w 5794893"/>
              <a:gd name="connsiteY1588" fmla="*/ 3916980 h 6858000"/>
              <a:gd name="connsiteX1589" fmla="*/ 2462984 w 5794893"/>
              <a:gd name="connsiteY1589" fmla="*/ 3955081 h 6858000"/>
              <a:gd name="connsiteX1590" fmla="*/ 2471586 w 5794893"/>
              <a:gd name="connsiteY1590" fmla="*/ 3920668 h 6858000"/>
              <a:gd name="connsiteX1591" fmla="*/ 2593261 w 5794893"/>
              <a:gd name="connsiteY1591" fmla="*/ 3955081 h 6858000"/>
              <a:gd name="connsiteX1592" fmla="*/ 2599406 w 5794893"/>
              <a:gd name="connsiteY1592" fmla="*/ 3925584 h 6858000"/>
              <a:gd name="connsiteX1593" fmla="*/ 2722309 w 5794893"/>
              <a:gd name="connsiteY1593" fmla="*/ 3955081 h 6858000"/>
              <a:gd name="connsiteX1594" fmla="*/ 2727225 w 5794893"/>
              <a:gd name="connsiteY1594" fmla="*/ 3929270 h 6858000"/>
              <a:gd name="connsiteX1595" fmla="*/ 2851358 w 5794893"/>
              <a:gd name="connsiteY1595" fmla="*/ 3955081 h 6858000"/>
              <a:gd name="connsiteX1596" fmla="*/ 2855045 w 5794893"/>
              <a:gd name="connsiteY1596" fmla="*/ 3932958 h 6858000"/>
              <a:gd name="connsiteX1597" fmla="*/ 2981636 w 5794893"/>
              <a:gd name="connsiteY1597" fmla="*/ 3955081 h 6858000"/>
              <a:gd name="connsiteX1598" fmla="*/ 2984094 w 5794893"/>
              <a:gd name="connsiteY1598" fmla="*/ 3936645 h 6858000"/>
              <a:gd name="connsiteX1599" fmla="*/ 3110684 w 5794893"/>
              <a:gd name="connsiteY1599" fmla="*/ 3955081 h 6858000"/>
              <a:gd name="connsiteX1600" fmla="*/ 3111913 w 5794893"/>
              <a:gd name="connsiteY1600" fmla="*/ 3939103 h 6858000"/>
              <a:gd name="connsiteX1601" fmla="*/ 3239733 w 5794893"/>
              <a:gd name="connsiteY1601" fmla="*/ 3955081 h 6858000"/>
              <a:gd name="connsiteX1602" fmla="*/ 3240961 w 5794893"/>
              <a:gd name="connsiteY1602" fmla="*/ 3942790 h 6858000"/>
              <a:gd name="connsiteX1603" fmla="*/ 3370010 w 5794893"/>
              <a:gd name="connsiteY1603" fmla="*/ 3955081 h 6858000"/>
              <a:gd name="connsiteX1604" fmla="*/ 3371239 w 5794893"/>
              <a:gd name="connsiteY1604" fmla="*/ 3945249 h 6858000"/>
              <a:gd name="connsiteX1605" fmla="*/ 3500288 w 5794893"/>
              <a:gd name="connsiteY1605" fmla="*/ 3955081 h 6858000"/>
              <a:gd name="connsiteX1606" fmla="*/ 3500288 w 5794893"/>
              <a:gd name="connsiteY1606" fmla="*/ 3947707 h 6858000"/>
              <a:gd name="connsiteX1607" fmla="*/ 3629336 w 5794893"/>
              <a:gd name="connsiteY1607" fmla="*/ 3955081 h 6858000"/>
              <a:gd name="connsiteX1608" fmla="*/ 3629336 w 5794893"/>
              <a:gd name="connsiteY1608" fmla="*/ 3950165 h 6858000"/>
              <a:gd name="connsiteX1609" fmla="*/ 3637940 w 5794893"/>
              <a:gd name="connsiteY1609" fmla="*/ 3950165 h 6858000"/>
              <a:gd name="connsiteX1610" fmla="*/ 3717826 w 5794893"/>
              <a:gd name="connsiteY1610" fmla="*/ 3952623 h 6858000"/>
              <a:gd name="connsiteX1611" fmla="*/ 3717826 w 5794893"/>
              <a:gd name="connsiteY1611" fmla="*/ 3953851 h 6858000"/>
              <a:gd name="connsiteX1612" fmla="*/ 5794893 w 5794893"/>
              <a:gd name="connsiteY1612" fmla="*/ 3996868 h 6858000"/>
              <a:gd name="connsiteX1613" fmla="*/ 3719056 w 5794893"/>
              <a:gd name="connsiteY1613" fmla="*/ 3996868 h 6858000"/>
              <a:gd name="connsiteX1614" fmla="*/ 3719056 w 5794893"/>
              <a:gd name="connsiteY1614" fmla="*/ 3999326 h 6858000"/>
              <a:gd name="connsiteX1615" fmla="*/ 3601069 w 5794893"/>
              <a:gd name="connsiteY1615" fmla="*/ 3996868 h 6858000"/>
              <a:gd name="connsiteX1616" fmla="*/ 3601069 w 5794893"/>
              <a:gd name="connsiteY1616" fmla="*/ 4000554 h 6858000"/>
              <a:gd name="connsiteX1617" fmla="*/ 3483081 w 5794893"/>
              <a:gd name="connsiteY1617" fmla="*/ 3996868 h 6858000"/>
              <a:gd name="connsiteX1618" fmla="*/ 3483081 w 5794893"/>
              <a:gd name="connsiteY1618" fmla="*/ 4003012 h 6858000"/>
              <a:gd name="connsiteX1619" fmla="*/ 3365094 w 5794893"/>
              <a:gd name="connsiteY1619" fmla="*/ 3996868 h 6858000"/>
              <a:gd name="connsiteX1620" fmla="*/ 3365094 w 5794893"/>
              <a:gd name="connsiteY1620" fmla="*/ 4005471 h 6858000"/>
              <a:gd name="connsiteX1621" fmla="*/ 3247107 w 5794893"/>
              <a:gd name="connsiteY1621" fmla="*/ 3996868 h 6858000"/>
              <a:gd name="connsiteX1622" fmla="*/ 3247107 w 5794893"/>
              <a:gd name="connsiteY1622" fmla="*/ 4007929 h 6858000"/>
              <a:gd name="connsiteX1623" fmla="*/ 3129120 w 5794893"/>
              <a:gd name="connsiteY1623" fmla="*/ 3996868 h 6858000"/>
              <a:gd name="connsiteX1624" fmla="*/ 3127890 w 5794893"/>
              <a:gd name="connsiteY1624" fmla="*/ 4011616 h 6858000"/>
              <a:gd name="connsiteX1625" fmla="*/ 3009903 w 5794893"/>
              <a:gd name="connsiteY1625" fmla="*/ 3998096 h 6858000"/>
              <a:gd name="connsiteX1626" fmla="*/ 3008674 w 5794893"/>
              <a:gd name="connsiteY1626" fmla="*/ 4015303 h 6858000"/>
              <a:gd name="connsiteX1627" fmla="*/ 2891916 w 5794893"/>
              <a:gd name="connsiteY1627" fmla="*/ 3998096 h 6858000"/>
              <a:gd name="connsiteX1628" fmla="*/ 2889458 w 5794893"/>
              <a:gd name="connsiteY1628" fmla="*/ 4018991 h 6858000"/>
              <a:gd name="connsiteX1629" fmla="*/ 2773928 w 5794893"/>
              <a:gd name="connsiteY1629" fmla="*/ 3998096 h 6858000"/>
              <a:gd name="connsiteX1630" fmla="*/ 2770242 w 5794893"/>
              <a:gd name="connsiteY1630" fmla="*/ 4022677 h 6858000"/>
              <a:gd name="connsiteX1631" fmla="*/ 2655941 w 5794893"/>
              <a:gd name="connsiteY1631" fmla="*/ 3998096 h 6858000"/>
              <a:gd name="connsiteX1632" fmla="*/ 2651025 w 5794893"/>
              <a:gd name="connsiteY1632" fmla="*/ 4025135 h 6858000"/>
              <a:gd name="connsiteX1633" fmla="*/ 2537954 w 5794893"/>
              <a:gd name="connsiteY1633" fmla="*/ 3998096 h 6858000"/>
              <a:gd name="connsiteX1634" fmla="*/ 2531809 w 5794893"/>
              <a:gd name="connsiteY1634" fmla="*/ 4028823 h 6858000"/>
              <a:gd name="connsiteX1635" fmla="*/ 2419967 w 5794893"/>
              <a:gd name="connsiteY1635" fmla="*/ 3998096 h 6858000"/>
              <a:gd name="connsiteX1636" fmla="*/ 2412593 w 5794893"/>
              <a:gd name="connsiteY1636" fmla="*/ 4033739 h 6858000"/>
              <a:gd name="connsiteX1637" fmla="*/ 2301980 w 5794893"/>
              <a:gd name="connsiteY1637" fmla="*/ 3998096 h 6858000"/>
              <a:gd name="connsiteX1638" fmla="*/ 2292147 w 5794893"/>
              <a:gd name="connsiteY1638" fmla="*/ 4037425 h 6858000"/>
              <a:gd name="connsiteX1639" fmla="*/ 2183992 w 5794893"/>
              <a:gd name="connsiteY1639" fmla="*/ 3998096 h 6858000"/>
              <a:gd name="connsiteX1640" fmla="*/ 2171702 w 5794893"/>
              <a:gd name="connsiteY1640" fmla="*/ 4042342 h 6858000"/>
              <a:gd name="connsiteX1641" fmla="*/ 2066005 w 5794893"/>
              <a:gd name="connsiteY1641" fmla="*/ 3998096 h 6858000"/>
              <a:gd name="connsiteX1642" fmla="*/ 2050028 w 5794893"/>
              <a:gd name="connsiteY1642" fmla="*/ 4047258 h 6858000"/>
              <a:gd name="connsiteX1643" fmla="*/ 1948018 w 5794893"/>
              <a:gd name="connsiteY1643" fmla="*/ 3998096 h 6858000"/>
              <a:gd name="connsiteX1644" fmla="*/ 1928353 w 5794893"/>
              <a:gd name="connsiteY1644" fmla="*/ 4050945 h 6858000"/>
              <a:gd name="connsiteX1645" fmla="*/ 1830031 w 5794893"/>
              <a:gd name="connsiteY1645" fmla="*/ 3998096 h 6858000"/>
              <a:gd name="connsiteX1646" fmla="*/ 1805450 w 5794893"/>
              <a:gd name="connsiteY1646" fmla="*/ 4055862 h 6858000"/>
              <a:gd name="connsiteX1647" fmla="*/ 1712043 w 5794893"/>
              <a:gd name="connsiteY1647" fmla="*/ 3998096 h 6858000"/>
              <a:gd name="connsiteX1648" fmla="*/ 1682547 w 5794893"/>
              <a:gd name="connsiteY1648" fmla="*/ 4060778 h 6858000"/>
              <a:gd name="connsiteX1649" fmla="*/ 1594056 w 5794893"/>
              <a:gd name="connsiteY1649" fmla="*/ 3998096 h 6858000"/>
              <a:gd name="connsiteX1650" fmla="*/ 1559643 w 5794893"/>
              <a:gd name="connsiteY1650" fmla="*/ 4060778 h 6858000"/>
              <a:gd name="connsiteX1651" fmla="*/ 1476069 w 5794893"/>
              <a:gd name="connsiteY1651" fmla="*/ 3993180 h 6858000"/>
              <a:gd name="connsiteX1652" fmla="*/ 1439198 w 5794893"/>
              <a:gd name="connsiteY1652" fmla="*/ 4052174 h 6858000"/>
              <a:gd name="connsiteX1653" fmla="*/ 1441656 w 5794893"/>
              <a:gd name="connsiteY1653" fmla="*/ 4054632 h 6858000"/>
              <a:gd name="connsiteX1654" fmla="*/ 1440428 w 5794893"/>
              <a:gd name="connsiteY1654" fmla="*/ 4057090 h 6858000"/>
              <a:gd name="connsiteX1655" fmla="*/ 1557185 w 5794893"/>
              <a:gd name="connsiteY1655" fmla="*/ 4150497 h 6858000"/>
              <a:gd name="connsiteX1656" fmla="*/ 1594056 w 5794893"/>
              <a:gd name="connsiteY1656" fmla="*/ 4091503 h 6858000"/>
              <a:gd name="connsiteX1657" fmla="*/ 1591598 w 5794893"/>
              <a:gd name="connsiteY1657" fmla="*/ 4090275 h 6858000"/>
              <a:gd name="connsiteX1658" fmla="*/ 1592828 w 5794893"/>
              <a:gd name="connsiteY1658" fmla="*/ 4087816 h 6858000"/>
              <a:gd name="connsiteX1659" fmla="*/ 1580537 w 5794893"/>
              <a:gd name="connsiteY1659" fmla="*/ 4077984 h 6858000"/>
              <a:gd name="connsiteX1660" fmla="*/ 1686234 w 5794893"/>
              <a:gd name="connsiteY1660" fmla="*/ 4151726 h 6858000"/>
              <a:gd name="connsiteX1661" fmla="*/ 1719418 w 5794893"/>
              <a:gd name="connsiteY1661" fmla="*/ 4091503 h 6858000"/>
              <a:gd name="connsiteX1662" fmla="*/ 1816512 w 5794893"/>
              <a:gd name="connsiteY1662" fmla="*/ 4151726 h 6858000"/>
              <a:gd name="connsiteX1663" fmla="*/ 1843551 w 5794893"/>
              <a:gd name="connsiteY1663" fmla="*/ 4096419 h 6858000"/>
              <a:gd name="connsiteX1664" fmla="*/ 1946789 w 5794893"/>
              <a:gd name="connsiteY1664" fmla="*/ 4151726 h 6858000"/>
              <a:gd name="connsiteX1665" fmla="*/ 1968912 w 5794893"/>
              <a:gd name="connsiteY1665" fmla="*/ 4100107 h 6858000"/>
              <a:gd name="connsiteX1666" fmla="*/ 2077067 w 5794893"/>
              <a:gd name="connsiteY1666" fmla="*/ 4151726 h 6858000"/>
              <a:gd name="connsiteX1667" fmla="*/ 2094273 w 5794893"/>
              <a:gd name="connsiteY1667" fmla="*/ 4105023 h 6858000"/>
              <a:gd name="connsiteX1668" fmla="*/ 2206115 w 5794893"/>
              <a:gd name="connsiteY1668" fmla="*/ 4151726 h 6858000"/>
              <a:gd name="connsiteX1669" fmla="*/ 2219635 w 5794893"/>
              <a:gd name="connsiteY1669" fmla="*/ 4108709 h 6858000"/>
              <a:gd name="connsiteX1670" fmla="*/ 2335164 w 5794893"/>
              <a:gd name="connsiteY1670" fmla="*/ 4151726 h 6858000"/>
              <a:gd name="connsiteX1671" fmla="*/ 2346225 w 5794893"/>
              <a:gd name="connsiteY1671" fmla="*/ 4113625 h 6858000"/>
              <a:gd name="connsiteX1672" fmla="*/ 2465442 w 5794893"/>
              <a:gd name="connsiteY1672" fmla="*/ 4151726 h 6858000"/>
              <a:gd name="connsiteX1673" fmla="*/ 2474044 w 5794893"/>
              <a:gd name="connsiteY1673" fmla="*/ 4117313 h 6858000"/>
              <a:gd name="connsiteX1674" fmla="*/ 2595719 w 5794893"/>
              <a:gd name="connsiteY1674" fmla="*/ 4151726 h 6858000"/>
              <a:gd name="connsiteX1675" fmla="*/ 2601864 w 5794893"/>
              <a:gd name="connsiteY1675" fmla="*/ 4122229 h 6858000"/>
              <a:gd name="connsiteX1676" fmla="*/ 2724767 w 5794893"/>
              <a:gd name="connsiteY1676" fmla="*/ 4151726 h 6858000"/>
              <a:gd name="connsiteX1677" fmla="*/ 2729683 w 5794893"/>
              <a:gd name="connsiteY1677" fmla="*/ 4125916 h 6858000"/>
              <a:gd name="connsiteX1678" fmla="*/ 2853816 w 5794893"/>
              <a:gd name="connsiteY1678" fmla="*/ 4151726 h 6858000"/>
              <a:gd name="connsiteX1679" fmla="*/ 2857503 w 5794893"/>
              <a:gd name="connsiteY1679" fmla="*/ 4129604 h 6858000"/>
              <a:gd name="connsiteX1680" fmla="*/ 2984094 w 5794893"/>
              <a:gd name="connsiteY1680" fmla="*/ 4151726 h 6858000"/>
              <a:gd name="connsiteX1681" fmla="*/ 2986552 w 5794893"/>
              <a:gd name="connsiteY1681" fmla="*/ 4133290 h 6858000"/>
              <a:gd name="connsiteX1682" fmla="*/ 3113142 w 5794893"/>
              <a:gd name="connsiteY1682" fmla="*/ 4151726 h 6858000"/>
              <a:gd name="connsiteX1683" fmla="*/ 3114371 w 5794893"/>
              <a:gd name="connsiteY1683" fmla="*/ 4135748 h 6858000"/>
              <a:gd name="connsiteX1684" fmla="*/ 3242191 w 5794893"/>
              <a:gd name="connsiteY1684" fmla="*/ 4151726 h 6858000"/>
              <a:gd name="connsiteX1685" fmla="*/ 3243419 w 5794893"/>
              <a:gd name="connsiteY1685" fmla="*/ 4139436 h 6858000"/>
              <a:gd name="connsiteX1686" fmla="*/ 3372468 w 5794893"/>
              <a:gd name="connsiteY1686" fmla="*/ 4151726 h 6858000"/>
              <a:gd name="connsiteX1687" fmla="*/ 3373697 w 5794893"/>
              <a:gd name="connsiteY1687" fmla="*/ 4141894 h 6858000"/>
              <a:gd name="connsiteX1688" fmla="*/ 3502746 w 5794893"/>
              <a:gd name="connsiteY1688" fmla="*/ 4151726 h 6858000"/>
              <a:gd name="connsiteX1689" fmla="*/ 3502746 w 5794893"/>
              <a:gd name="connsiteY1689" fmla="*/ 4144352 h 6858000"/>
              <a:gd name="connsiteX1690" fmla="*/ 3631794 w 5794893"/>
              <a:gd name="connsiteY1690" fmla="*/ 4151726 h 6858000"/>
              <a:gd name="connsiteX1691" fmla="*/ 3631794 w 5794893"/>
              <a:gd name="connsiteY1691" fmla="*/ 4146810 h 6858000"/>
              <a:gd name="connsiteX1692" fmla="*/ 3640398 w 5794893"/>
              <a:gd name="connsiteY1692" fmla="*/ 4146810 h 6858000"/>
              <a:gd name="connsiteX1693" fmla="*/ 3720284 w 5794893"/>
              <a:gd name="connsiteY1693" fmla="*/ 4149268 h 6858000"/>
              <a:gd name="connsiteX1694" fmla="*/ 3720284 w 5794893"/>
              <a:gd name="connsiteY1694" fmla="*/ 4150497 h 6858000"/>
              <a:gd name="connsiteX1695" fmla="*/ 5696570 w 5794893"/>
              <a:gd name="connsiteY1695" fmla="*/ 4195972 h 6858000"/>
              <a:gd name="connsiteX1696" fmla="*/ 3720284 w 5794893"/>
              <a:gd name="connsiteY1696" fmla="*/ 4191055 h 6858000"/>
              <a:gd name="connsiteX1697" fmla="*/ 3720284 w 5794893"/>
              <a:gd name="connsiteY1697" fmla="*/ 4193513 h 6858000"/>
              <a:gd name="connsiteX1698" fmla="*/ 3602297 w 5794893"/>
              <a:gd name="connsiteY1698" fmla="*/ 4191055 h 6858000"/>
              <a:gd name="connsiteX1699" fmla="*/ 3602297 w 5794893"/>
              <a:gd name="connsiteY1699" fmla="*/ 4194742 h 6858000"/>
              <a:gd name="connsiteX1700" fmla="*/ 3484310 w 5794893"/>
              <a:gd name="connsiteY1700" fmla="*/ 4191055 h 6858000"/>
              <a:gd name="connsiteX1701" fmla="*/ 3484310 w 5794893"/>
              <a:gd name="connsiteY1701" fmla="*/ 4197200 h 6858000"/>
              <a:gd name="connsiteX1702" fmla="*/ 3366323 w 5794893"/>
              <a:gd name="connsiteY1702" fmla="*/ 4191055 h 6858000"/>
              <a:gd name="connsiteX1703" fmla="*/ 3366323 w 5794893"/>
              <a:gd name="connsiteY1703" fmla="*/ 4199658 h 6858000"/>
              <a:gd name="connsiteX1704" fmla="*/ 3248335 w 5794893"/>
              <a:gd name="connsiteY1704" fmla="*/ 4191055 h 6858000"/>
              <a:gd name="connsiteX1705" fmla="*/ 3248335 w 5794893"/>
              <a:gd name="connsiteY1705" fmla="*/ 4202116 h 6858000"/>
              <a:gd name="connsiteX1706" fmla="*/ 3130348 w 5794893"/>
              <a:gd name="connsiteY1706" fmla="*/ 4191055 h 6858000"/>
              <a:gd name="connsiteX1707" fmla="*/ 3129120 w 5794893"/>
              <a:gd name="connsiteY1707" fmla="*/ 4205804 h 6858000"/>
              <a:gd name="connsiteX1708" fmla="*/ 3011133 w 5794893"/>
              <a:gd name="connsiteY1708" fmla="*/ 4191055 h 6858000"/>
              <a:gd name="connsiteX1709" fmla="*/ 3009903 w 5794893"/>
              <a:gd name="connsiteY1709" fmla="*/ 4208262 h 6858000"/>
              <a:gd name="connsiteX1710" fmla="*/ 2893145 w 5794893"/>
              <a:gd name="connsiteY1710" fmla="*/ 4191055 h 6858000"/>
              <a:gd name="connsiteX1711" fmla="*/ 2890687 w 5794893"/>
              <a:gd name="connsiteY1711" fmla="*/ 4211948 h 6858000"/>
              <a:gd name="connsiteX1712" fmla="*/ 2775158 w 5794893"/>
              <a:gd name="connsiteY1712" fmla="*/ 4191055 h 6858000"/>
              <a:gd name="connsiteX1713" fmla="*/ 2771470 w 5794893"/>
              <a:gd name="connsiteY1713" fmla="*/ 4215636 h 6858000"/>
              <a:gd name="connsiteX1714" fmla="*/ 2657171 w 5794893"/>
              <a:gd name="connsiteY1714" fmla="*/ 4191055 h 6858000"/>
              <a:gd name="connsiteX1715" fmla="*/ 2652255 w 5794893"/>
              <a:gd name="connsiteY1715" fmla="*/ 4218094 h 6858000"/>
              <a:gd name="connsiteX1716" fmla="*/ 2539184 w 5794893"/>
              <a:gd name="connsiteY1716" fmla="*/ 4191055 h 6858000"/>
              <a:gd name="connsiteX1717" fmla="*/ 2533038 w 5794893"/>
              <a:gd name="connsiteY1717" fmla="*/ 4223010 h 6858000"/>
              <a:gd name="connsiteX1718" fmla="*/ 2421196 w 5794893"/>
              <a:gd name="connsiteY1718" fmla="*/ 4191055 h 6858000"/>
              <a:gd name="connsiteX1719" fmla="*/ 2413822 w 5794893"/>
              <a:gd name="connsiteY1719" fmla="*/ 4226697 h 6858000"/>
              <a:gd name="connsiteX1720" fmla="*/ 2303209 w 5794893"/>
              <a:gd name="connsiteY1720" fmla="*/ 4191055 h 6858000"/>
              <a:gd name="connsiteX1721" fmla="*/ 2293377 w 5794893"/>
              <a:gd name="connsiteY1721" fmla="*/ 4230384 h 6858000"/>
              <a:gd name="connsiteX1722" fmla="*/ 2185222 w 5794893"/>
              <a:gd name="connsiteY1722" fmla="*/ 4191055 h 6858000"/>
              <a:gd name="connsiteX1723" fmla="*/ 2172932 w 5794893"/>
              <a:gd name="connsiteY1723" fmla="*/ 4235301 h 6858000"/>
              <a:gd name="connsiteX1724" fmla="*/ 2067235 w 5794893"/>
              <a:gd name="connsiteY1724" fmla="*/ 4191055 h 6858000"/>
              <a:gd name="connsiteX1725" fmla="*/ 2051257 w 5794893"/>
              <a:gd name="connsiteY1725" fmla="*/ 4240217 h 6858000"/>
              <a:gd name="connsiteX1726" fmla="*/ 1949247 w 5794893"/>
              <a:gd name="connsiteY1726" fmla="*/ 4191055 h 6858000"/>
              <a:gd name="connsiteX1727" fmla="*/ 1929583 w 5794893"/>
              <a:gd name="connsiteY1727" fmla="*/ 4243903 h 6858000"/>
              <a:gd name="connsiteX1728" fmla="*/ 1831260 w 5794893"/>
              <a:gd name="connsiteY1728" fmla="*/ 4191055 h 6858000"/>
              <a:gd name="connsiteX1729" fmla="*/ 1806680 w 5794893"/>
              <a:gd name="connsiteY1729" fmla="*/ 4248819 h 6858000"/>
              <a:gd name="connsiteX1730" fmla="*/ 1713273 w 5794893"/>
              <a:gd name="connsiteY1730" fmla="*/ 4191055 h 6858000"/>
              <a:gd name="connsiteX1731" fmla="*/ 1683776 w 5794893"/>
              <a:gd name="connsiteY1731" fmla="*/ 4253735 h 6858000"/>
              <a:gd name="connsiteX1732" fmla="*/ 1595286 w 5794893"/>
              <a:gd name="connsiteY1732" fmla="*/ 4191055 h 6858000"/>
              <a:gd name="connsiteX1733" fmla="*/ 1559643 w 5794893"/>
              <a:gd name="connsiteY1733" fmla="*/ 4254965 h 6858000"/>
              <a:gd name="connsiteX1734" fmla="*/ 1685005 w 5794893"/>
              <a:gd name="connsiteY1734" fmla="*/ 4343456 h 6858000"/>
              <a:gd name="connsiteX1735" fmla="*/ 1718189 w 5794893"/>
              <a:gd name="connsiteY1735" fmla="*/ 4283232 h 6858000"/>
              <a:gd name="connsiteX1736" fmla="*/ 1815282 w 5794893"/>
              <a:gd name="connsiteY1736" fmla="*/ 4343456 h 6858000"/>
              <a:gd name="connsiteX1737" fmla="*/ 1842321 w 5794893"/>
              <a:gd name="connsiteY1737" fmla="*/ 4288148 h 6858000"/>
              <a:gd name="connsiteX1738" fmla="*/ 1945560 w 5794893"/>
              <a:gd name="connsiteY1738" fmla="*/ 4343456 h 6858000"/>
              <a:gd name="connsiteX1739" fmla="*/ 1967682 w 5794893"/>
              <a:gd name="connsiteY1739" fmla="*/ 4291836 h 6858000"/>
              <a:gd name="connsiteX1740" fmla="*/ 2075837 w 5794893"/>
              <a:gd name="connsiteY1740" fmla="*/ 4343456 h 6858000"/>
              <a:gd name="connsiteX1741" fmla="*/ 2093044 w 5794893"/>
              <a:gd name="connsiteY1741" fmla="*/ 4296752 h 6858000"/>
              <a:gd name="connsiteX1742" fmla="*/ 2204887 w 5794893"/>
              <a:gd name="connsiteY1742" fmla="*/ 4343456 h 6858000"/>
              <a:gd name="connsiteX1743" fmla="*/ 2218405 w 5794893"/>
              <a:gd name="connsiteY1743" fmla="*/ 4300439 h 6858000"/>
              <a:gd name="connsiteX1744" fmla="*/ 2333934 w 5794893"/>
              <a:gd name="connsiteY1744" fmla="*/ 4343456 h 6858000"/>
              <a:gd name="connsiteX1745" fmla="*/ 2344996 w 5794893"/>
              <a:gd name="connsiteY1745" fmla="*/ 4305355 h 6858000"/>
              <a:gd name="connsiteX1746" fmla="*/ 2464212 w 5794893"/>
              <a:gd name="connsiteY1746" fmla="*/ 4343456 h 6858000"/>
              <a:gd name="connsiteX1747" fmla="*/ 2472816 w 5794893"/>
              <a:gd name="connsiteY1747" fmla="*/ 4309043 h 6858000"/>
              <a:gd name="connsiteX1748" fmla="*/ 2593261 w 5794893"/>
              <a:gd name="connsiteY1748" fmla="*/ 4343456 h 6858000"/>
              <a:gd name="connsiteX1749" fmla="*/ 2598177 w 5794893"/>
              <a:gd name="connsiteY1749" fmla="*/ 4315187 h 6858000"/>
              <a:gd name="connsiteX1750" fmla="*/ 2721081 w 5794893"/>
              <a:gd name="connsiteY1750" fmla="*/ 4344684 h 6858000"/>
              <a:gd name="connsiteX1751" fmla="*/ 2725997 w 5794893"/>
              <a:gd name="connsiteY1751" fmla="*/ 4318875 h 6858000"/>
              <a:gd name="connsiteX1752" fmla="*/ 2851358 w 5794893"/>
              <a:gd name="connsiteY1752" fmla="*/ 4344684 h 6858000"/>
              <a:gd name="connsiteX1753" fmla="*/ 2855045 w 5794893"/>
              <a:gd name="connsiteY1753" fmla="*/ 4322561 h 6858000"/>
              <a:gd name="connsiteX1754" fmla="*/ 2981636 w 5794893"/>
              <a:gd name="connsiteY1754" fmla="*/ 4344684 h 6858000"/>
              <a:gd name="connsiteX1755" fmla="*/ 2984094 w 5794893"/>
              <a:gd name="connsiteY1755" fmla="*/ 4326249 h 6858000"/>
              <a:gd name="connsiteX1756" fmla="*/ 3110684 w 5794893"/>
              <a:gd name="connsiteY1756" fmla="*/ 4344684 h 6858000"/>
              <a:gd name="connsiteX1757" fmla="*/ 3113142 w 5794893"/>
              <a:gd name="connsiteY1757" fmla="*/ 4328707 h 6858000"/>
              <a:gd name="connsiteX1758" fmla="*/ 3240961 w 5794893"/>
              <a:gd name="connsiteY1758" fmla="*/ 4344684 h 6858000"/>
              <a:gd name="connsiteX1759" fmla="*/ 3242191 w 5794893"/>
              <a:gd name="connsiteY1759" fmla="*/ 4332394 h 6858000"/>
              <a:gd name="connsiteX1760" fmla="*/ 3371239 w 5794893"/>
              <a:gd name="connsiteY1760" fmla="*/ 4344684 h 6858000"/>
              <a:gd name="connsiteX1761" fmla="*/ 3372468 w 5794893"/>
              <a:gd name="connsiteY1761" fmla="*/ 4334852 h 6858000"/>
              <a:gd name="connsiteX1762" fmla="*/ 3501516 w 5794893"/>
              <a:gd name="connsiteY1762" fmla="*/ 4344684 h 6858000"/>
              <a:gd name="connsiteX1763" fmla="*/ 3501516 w 5794893"/>
              <a:gd name="connsiteY1763" fmla="*/ 4337310 h 6858000"/>
              <a:gd name="connsiteX1764" fmla="*/ 3630565 w 5794893"/>
              <a:gd name="connsiteY1764" fmla="*/ 4344684 h 6858000"/>
              <a:gd name="connsiteX1765" fmla="*/ 3630565 w 5794893"/>
              <a:gd name="connsiteY1765" fmla="*/ 4339768 h 6858000"/>
              <a:gd name="connsiteX1766" fmla="*/ 3639168 w 5794893"/>
              <a:gd name="connsiteY1766" fmla="*/ 4339768 h 6858000"/>
              <a:gd name="connsiteX1767" fmla="*/ 3719056 w 5794893"/>
              <a:gd name="connsiteY1767" fmla="*/ 4342226 h 6858000"/>
              <a:gd name="connsiteX1768" fmla="*/ 3719056 w 5794893"/>
              <a:gd name="connsiteY1768" fmla="*/ 4343456 h 6858000"/>
              <a:gd name="connsiteX1769" fmla="*/ 5728527 w 5794893"/>
              <a:gd name="connsiteY1769" fmla="*/ 4387701 h 6858000"/>
              <a:gd name="connsiteX1770" fmla="*/ 3712910 w 5794893"/>
              <a:gd name="connsiteY1770" fmla="*/ 4387701 h 6858000"/>
              <a:gd name="connsiteX1771" fmla="*/ 3712910 w 5794893"/>
              <a:gd name="connsiteY1771" fmla="*/ 4388929 h 6858000"/>
              <a:gd name="connsiteX1772" fmla="*/ 3594923 w 5794893"/>
              <a:gd name="connsiteY1772" fmla="*/ 4386471 h 6858000"/>
              <a:gd name="connsiteX1773" fmla="*/ 3594923 w 5794893"/>
              <a:gd name="connsiteY1773" fmla="*/ 4390159 h 6858000"/>
              <a:gd name="connsiteX1774" fmla="*/ 3476936 w 5794893"/>
              <a:gd name="connsiteY1774" fmla="*/ 4386471 h 6858000"/>
              <a:gd name="connsiteX1775" fmla="*/ 3476936 w 5794893"/>
              <a:gd name="connsiteY1775" fmla="*/ 4392617 h 6858000"/>
              <a:gd name="connsiteX1776" fmla="*/ 3358948 w 5794893"/>
              <a:gd name="connsiteY1776" fmla="*/ 4386471 h 6858000"/>
              <a:gd name="connsiteX1777" fmla="*/ 3358948 w 5794893"/>
              <a:gd name="connsiteY1777" fmla="*/ 4395075 h 6858000"/>
              <a:gd name="connsiteX1778" fmla="*/ 3240961 w 5794893"/>
              <a:gd name="connsiteY1778" fmla="*/ 4386471 h 6858000"/>
              <a:gd name="connsiteX1779" fmla="*/ 3240961 w 5794893"/>
              <a:gd name="connsiteY1779" fmla="*/ 4397533 h 6858000"/>
              <a:gd name="connsiteX1780" fmla="*/ 3122974 w 5794893"/>
              <a:gd name="connsiteY1780" fmla="*/ 4386471 h 6858000"/>
              <a:gd name="connsiteX1781" fmla="*/ 3121746 w 5794893"/>
              <a:gd name="connsiteY1781" fmla="*/ 4401219 h 6858000"/>
              <a:gd name="connsiteX1782" fmla="*/ 3003758 w 5794893"/>
              <a:gd name="connsiteY1782" fmla="*/ 4386471 h 6858000"/>
              <a:gd name="connsiteX1783" fmla="*/ 3002529 w 5794893"/>
              <a:gd name="connsiteY1783" fmla="*/ 4403678 h 6858000"/>
              <a:gd name="connsiteX1784" fmla="*/ 2885771 w 5794893"/>
              <a:gd name="connsiteY1784" fmla="*/ 4386471 h 6858000"/>
              <a:gd name="connsiteX1785" fmla="*/ 2883313 w 5794893"/>
              <a:gd name="connsiteY1785" fmla="*/ 4407365 h 6858000"/>
              <a:gd name="connsiteX1786" fmla="*/ 2767784 w 5794893"/>
              <a:gd name="connsiteY1786" fmla="*/ 4386471 h 6858000"/>
              <a:gd name="connsiteX1787" fmla="*/ 2764096 w 5794893"/>
              <a:gd name="connsiteY1787" fmla="*/ 4409823 h 6858000"/>
              <a:gd name="connsiteX1788" fmla="*/ 2649797 w 5794893"/>
              <a:gd name="connsiteY1788" fmla="*/ 4386471 h 6858000"/>
              <a:gd name="connsiteX1789" fmla="*/ 2644881 w 5794893"/>
              <a:gd name="connsiteY1789" fmla="*/ 4413510 h 6858000"/>
              <a:gd name="connsiteX1790" fmla="*/ 2531809 w 5794893"/>
              <a:gd name="connsiteY1790" fmla="*/ 4386471 h 6858000"/>
              <a:gd name="connsiteX1791" fmla="*/ 2525664 w 5794893"/>
              <a:gd name="connsiteY1791" fmla="*/ 4417198 h 6858000"/>
              <a:gd name="connsiteX1792" fmla="*/ 2413822 w 5794893"/>
              <a:gd name="connsiteY1792" fmla="*/ 4386471 h 6858000"/>
              <a:gd name="connsiteX1793" fmla="*/ 2406448 w 5794893"/>
              <a:gd name="connsiteY1793" fmla="*/ 4422114 h 6858000"/>
              <a:gd name="connsiteX1794" fmla="*/ 2295835 w 5794893"/>
              <a:gd name="connsiteY1794" fmla="*/ 4386471 h 6858000"/>
              <a:gd name="connsiteX1795" fmla="*/ 2286003 w 5794893"/>
              <a:gd name="connsiteY1795" fmla="*/ 4425800 h 6858000"/>
              <a:gd name="connsiteX1796" fmla="*/ 2177848 w 5794893"/>
              <a:gd name="connsiteY1796" fmla="*/ 4386471 h 6858000"/>
              <a:gd name="connsiteX1797" fmla="*/ 2165557 w 5794893"/>
              <a:gd name="connsiteY1797" fmla="*/ 4430716 h 6858000"/>
              <a:gd name="connsiteX1798" fmla="*/ 2059860 w 5794893"/>
              <a:gd name="connsiteY1798" fmla="*/ 4386471 h 6858000"/>
              <a:gd name="connsiteX1799" fmla="*/ 2043882 w 5794893"/>
              <a:gd name="connsiteY1799" fmla="*/ 4435632 h 6858000"/>
              <a:gd name="connsiteX1800" fmla="*/ 1941873 w 5794893"/>
              <a:gd name="connsiteY1800" fmla="*/ 4386471 h 6858000"/>
              <a:gd name="connsiteX1801" fmla="*/ 1922209 w 5794893"/>
              <a:gd name="connsiteY1801" fmla="*/ 4439320 h 6858000"/>
              <a:gd name="connsiteX1802" fmla="*/ 1823886 w 5794893"/>
              <a:gd name="connsiteY1802" fmla="*/ 4386471 h 6858000"/>
              <a:gd name="connsiteX1803" fmla="*/ 1799305 w 5794893"/>
              <a:gd name="connsiteY1803" fmla="*/ 4444236 h 6858000"/>
              <a:gd name="connsiteX1804" fmla="*/ 1705899 w 5794893"/>
              <a:gd name="connsiteY1804" fmla="*/ 4386471 h 6858000"/>
              <a:gd name="connsiteX1805" fmla="*/ 1676402 w 5794893"/>
              <a:gd name="connsiteY1805" fmla="*/ 4447923 h 6858000"/>
              <a:gd name="connsiteX1806" fmla="*/ 1587912 w 5794893"/>
              <a:gd name="connsiteY1806" fmla="*/ 4386471 h 6858000"/>
              <a:gd name="connsiteX1807" fmla="*/ 1554260 w 5794893"/>
              <a:gd name="connsiteY1807" fmla="*/ 4446812 h 6858000"/>
              <a:gd name="connsiteX1808" fmla="*/ 1477299 w 5794893"/>
              <a:gd name="connsiteY1808" fmla="*/ 4385243 h 6858000"/>
              <a:gd name="connsiteX1809" fmla="*/ 1440428 w 5794893"/>
              <a:gd name="connsiteY1809" fmla="*/ 4444236 h 6858000"/>
              <a:gd name="connsiteX1810" fmla="*/ 1557185 w 5794893"/>
              <a:gd name="connsiteY1810" fmla="*/ 4537643 h 6858000"/>
              <a:gd name="connsiteX1811" fmla="*/ 1593646 w 5794893"/>
              <a:gd name="connsiteY1811" fmla="*/ 4479305 h 6858000"/>
              <a:gd name="connsiteX1812" fmla="*/ 1678860 w 5794893"/>
              <a:gd name="connsiteY1812" fmla="*/ 4538871 h 6858000"/>
              <a:gd name="connsiteX1813" fmla="*/ 1712043 w 5794893"/>
              <a:gd name="connsiteY1813" fmla="*/ 4478649 h 6858000"/>
              <a:gd name="connsiteX1814" fmla="*/ 1809138 w 5794893"/>
              <a:gd name="connsiteY1814" fmla="*/ 4538871 h 6858000"/>
              <a:gd name="connsiteX1815" fmla="*/ 1836176 w 5794893"/>
              <a:gd name="connsiteY1815" fmla="*/ 4483565 h 6858000"/>
              <a:gd name="connsiteX1816" fmla="*/ 1939415 w 5794893"/>
              <a:gd name="connsiteY1816" fmla="*/ 4538871 h 6858000"/>
              <a:gd name="connsiteX1817" fmla="*/ 1961538 w 5794893"/>
              <a:gd name="connsiteY1817" fmla="*/ 4487252 h 6858000"/>
              <a:gd name="connsiteX1818" fmla="*/ 2069693 w 5794893"/>
              <a:gd name="connsiteY1818" fmla="*/ 4538871 h 6858000"/>
              <a:gd name="connsiteX1819" fmla="*/ 2086899 w 5794893"/>
              <a:gd name="connsiteY1819" fmla="*/ 4492168 h 6858000"/>
              <a:gd name="connsiteX1820" fmla="*/ 2198741 w 5794893"/>
              <a:gd name="connsiteY1820" fmla="*/ 4538871 h 6858000"/>
              <a:gd name="connsiteX1821" fmla="*/ 2212261 w 5794893"/>
              <a:gd name="connsiteY1821" fmla="*/ 4495856 h 6858000"/>
              <a:gd name="connsiteX1822" fmla="*/ 2327790 w 5794893"/>
              <a:gd name="connsiteY1822" fmla="*/ 4538871 h 6858000"/>
              <a:gd name="connsiteX1823" fmla="*/ 2338851 w 5794893"/>
              <a:gd name="connsiteY1823" fmla="*/ 4500772 h 6858000"/>
              <a:gd name="connsiteX1824" fmla="*/ 2458067 w 5794893"/>
              <a:gd name="connsiteY1824" fmla="*/ 4538871 h 6858000"/>
              <a:gd name="connsiteX1825" fmla="*/ 2466670 w 5794893"/>
              <a:gd name="connsiteY1825" fmla="*/ 4504458 h 6858000"/>
              <a:gd name="connsiteX1826" fmla="*/ 2588345 w 5794893"/>
              <a:gd name="connsiteY1826" fmla="*/ 4538871 h 6858000"/>
              <a:gd name="connsiteX1827" fmla="*/ 2594490 w 5794893"/>
              <a:gd name="connsiteY1827" fmla="*/ 4509374 h 6858000"/>
              <a:gd name="connsiteX1828" fmla="*/ 2717393 w 5794893"/>
              <a:gd name="connsiteY1828" fmla="*/ 4538871 h 6858000"/>
              <a:gd name="connsiteX1829" fmla="*/ 2722309 w 5794893"/>
              <a:gd name="connsiteY1829" fmla="*/ 4513062 h 6858000"/>
              <a:gd name="connsiteX1830" fmla="*/ 2847670 w 5794893"/>
              <a:gd name="connsiteY1830" fmla="*/ 4538871 h 6858000"/>
              <a:gd name="connsiteX1831" fmla="*/ 2851358 w 5794893"/>
              <a:gd name="connsiteY1831" fmla="*/ 4516749 h 6858000"/>
              <a:gd name="connsiteX1832" fmla="*/ 2977948 w 5794893"/>
              <a:gd name="connsiteY1832" fmla="*/ 4538871 h 6858000"/>
              <a:gd name="connsiteX1833" fmla="*/ 2980406 w 5794893"/>
              <a:gd name="connsiteY1833" fmla="*/ 4520436 h 6858000"/>
              <a:gd name="connsiteX1834" fmla="*/ 3106997 w 5794893"/>
              <a:gd name="connsiteY1834" fmla="*/ 4538871 h 6858000"/>
              <a:gd name="connsiteX1835" fmla="*/ 3108226 w 5794893"/>
              <a:gd name="connsiteY1835" fmla="*/ 4522894 h 6858000"/>
              <a:gd name="connsiteX1836" fmla="*/ 3236045 w 5794893"/>
              <a:gd name="connsiteY1836" fmla="*/ 4538871 h 6858000"/>
              <a:gd name="connsiteX1837" fmla="*/ 3237275 w 5794893"/>
              <a:gd name="connsiteY1837" fmla="*/ 4526581 h 6858000"/>
              <a:gd name="connsiteX1838" fmla="*/ 3366323 w 5794893"/>
              <a:gd name="connsiteY1838" fmla="*/ 4538871 h 6858000"/>
              <a:gd name="connsiteX1839" fmla="*/ 3367552 w 5794893"/>
              <a:gd name="connsiteY1839" fmla="*/ 4529039 h 6858000"/>
              <a:gd name="connsiteX1840" fmla="*/ 3496600 w 5794893"/>
              <a:gd name="connsiteY1840" fmla="*/ 4538871 h 6858000"/>
              <a:gd name="connsiteX1841" fmla="*/ 3496600 w 5794893"/>
              <a:gd name="connsiteY1841" fmla="*/ 4531497 h 6858000"/>
              <a:gd name="connsiteX1842" fmla="*/ 3625649 w 5794893"/>
              <a:gd name="connsiteY1842" fmla="*/ 4538871 h 6858000"/>
              <a:gd name="connsiteX1843" fmla="*/ 3625649 w 5794893"/>
              <a:gd name="connsiteY1843" fmla="*/ 4533955 h 6858000"/>
              <a:gd name="connsiteX1844" fmla="*/ 3634252 w 5794893"/>
              <a:gd name="connsiteY1844" fmla="*/ 4533955 h 6858000"/>
              <a:gd name="connsiteX1845" fmla="*/ 3714140 w 5794893"/>
              <a:gd name="connsiteY1845" fmla="*/ 4536413 h 6858000"/>
              <a:gd name="connsiteX1846" fmla="*/ 3714140 w 5794893"/>
              <a:gd name="connsiteY1846" fmla="*/ 4537643 h 6858000"/>
              <a:gd name="connsiteX1847" fmla="*/ 5699030 w 5794893"/>
              <a:gd name="connsiteY1847" fmla="*/ 4579430 h 6858000"/>
              <a:gd name="connsiteX1848" fmla="*/ 3714140 w 5794893"/>
              <a:gd name="connsiteY1848" fmla="*/ 4579430 h 6858000"/>
              <a:gd name="connsiteX1849" fmla="*/ 3714140 w 5794893"/>
              <a:gd name="connsiteY1849" fmla="*/ 4581888 h 6858000"/>
              <a:gd name="connsiteX1850" fmla="*/ 3596153 w 5794893"/>
              <a:gd name="connsiteY1850" fmla="*/ 4579430 h 6858000"/>
              <a:gd name="connsiteX1851" fmla="*/ 3596153 w 5794893"/>
              <a:gd name="connsiteY1851" fmla="*/ 4583116 h 6858000"/>
              <a:gd name="connsiteX1852" fmla="*/ 3478165 w 5794893"/>
              <a:gd name="connsiteY1852" fmla="*/ 4579430 h 6858000"/>
              <a:gd name="connsiteX1853" fmla="*/ 3478165 w 5794893"/>
              <a:gd name="connsiteY1853" fmla="*/ 4585575 h 6858000"/>
              <a:gd name="connsiteX1854" fmla="*/ 3360178 w 5794893"/>
              <a:gd name="connsiteY1854" fmla="*/ 4579430 h 6858000"/>
              <a:gd name="connsiteX1855" fmla="*/ 3360178 w 5794893"/>
              <a:gd name="connsiteY1855" fmla="*/ 4588033 h 6858000"/>
              <a:gd name="connsiteX1856" fmla="*/ 3242191 w 5794893"/>
              <a:gd name="connsiteY1856" fmla="*/ 4579430 h 6858000"/>
              <a:gd name="connsiteX1857" fmla="*/ 3242191 w 5794893"/>
              <a:gd name="connsiteY1857" fmla="*/ 4590491 h 6858000"/>
              <a:gd name="connsiteX1858" fmla="*/ 3124204 w 5794893"/>
              <a:gd name="connsiteY1858" fmla="*/ 4579430 h 6858000"/>
              <a:gd name="connsiteX1859" fmla="*/ 3122974 w 5794893"/>
              <a:gd name="connsiteY1859" fmla="*/ 4594178 h 6858000"/>
              <a:gd name="connsiteX1860" fmla="*/ 3004987 w 5794893"/>
              <a:gd name="connsiteY1860" fmla="*/ 4579430 h 6858000"/>
              <a:gd name="connsiteX1861" fmla="*/ 3003758 w 5794893"/>
              <a:gd name="connsiteY1861" fmla="*/ 4596636 h 6858000"/>
              <a:gd name="connsiteX1862" fmla="*/ 2887000 w 5794893"/>
              <a:gd name="connsiteY1862" fmla="*/ 4579430 h 6858000"/>
              <a:gd name="connsiteX1863" fmla="*/ 2884541 w 5794893"/>
              <a:gd name="connsiteY1863" fmla="*/ 4600323 h 6858000"/>
              <a:gd name="connsiteX1864" fmla="*/ 2769012 w 5794893"/>
              <a:gd name="connsiteY1864" fmla="*/ 4579430 h 6858000"/>
              <a:gd name="connsiteX1865" fmla="*/ 2765326 w 5794893"/>
              <a:gd name="connsiteY1865" fmla="*/ 4602781 h 6858000"/>
              <a:gd name="connsiteX1866" fmla="*/ 2651025 w 5794893"/>
              <a:gd name="connsiteY1866" fmla="*/ 4579430 h 6858000"/>
              <a:gd name="connsiteX1867" fmla="*/ 2646109 w 5794893"/>
              <a:gd name="connsiteY1867" fmla="*/ 4606469 h 6858000"/>
              <a:gd name="connsiteX1868" fmla="*/ 2533038 w 5794893"/>
              <a:gd name="connsiteY1868" fmla="*/ 4579430 h 6858000"/>
              <a:gd name="connsiteX1869" fmla="*/ 2526893 w 5794893"/>
              <a:gd name="connsiteY1869" fmla="*/ 4610155 h 6858000"/>
              <a:gd name="connsiteX1870" fmla="*/ 2415051 w 5794893"/>
              <a:gd name="connsiteY1870" fmla="*/ 4579430 h 6858000"/>
              <a:gd name="connsiteX1871" fmla="*/ 2407676 w 5794893"/>
              <a:gd name="connsiteY1871" fmla="*/ 4615071 h 6858000"/>
              <a:gd name="connsiteX1872" fmla="*/ 2297063 w 5794893"/>
              <a:gd name="connsiteY1872" fmla="*/ 4579430 h 6858000"/>
              <a:gd name="connsiteX1873" fmla="*/ 2287231 w 5794893"/>
              <a:gd name="connsiteY1873" fmla="*/ 4618759 h 6858000"/>
              <a:gd name="connsiteX1874" fmla="*/ 2179076 w 5794893"/>
              <a:gd name="connsiteY1874" fmla="*/ 4579430 h 6858000"/>
              <a:gd name="connsiteX1875" fmla="*/ 2166786 w 5794893"/>
              <a:gd name="connsiteY1875" fmla="*/ 4623675 h 6858000"/>
              <a:gd name="connsiteX1876" fmla="*/ 2061089 w 5794893"/>
              <a:gd name="connsiteY1876" fmla="*/ 4579430 h 6858000"/>
              <a:gd name="connsiteX1877" fmla="*/ 2045112 w 5794893"/>
              <a:gd name="connsiteY1877" fmla="*/ 4628591 h 6858000"/>
              <a:gd name="connsiteX1878" fmla="*/ 1943102 w 5794893"/>
              <a:gd name="connsiteY1878" fmla="*/ 4579430 h 6858000"/>
              <a:gd name="connsiteX1879" fmla="*/ 1923437 w 5794893"/>
              <a:gd name="connsiteY1879" fmla="*/ 4632278 h 6858000"/>
              <a:gd name="connsiteX1880" fmla="*/ 1825114 w 5794893"/>
              <a:gd name="connsiteY1880" fmla="*/ 4579430 h 6858000"/>
              <a:gd name="connsiteX1881" fmla="*/ 1800534 w 5794893"/>
              <a:gd name="connsiteY1881" fmla="*/ 4637194 h 6858000"/>
              <a:gd name="connsiteX1882" fmla="*/ 1707127 w 5794893"/>
              <a:gd name="connsiteY1882" fmla="*/ 4579430 h 6858000"/>
              <a:gd name="connsiteX1883" fmla="*/ 1677630 w 5794893"/>
              <a:gd name="connsiteY1883" fmla="*/ 4642110 h 6858000"/>
              <a:gd name="connsiteX1884" fmla="*/ 1589140 w 5794893"/>
              <a:gd name="connsiteY1884" fmla="*/ 4580658 h 6858000"/>
              <a:gd name="connsiteX1885" fmla="*/ 1554636 w 5794893"/>
              <a:gd name="connsiteY1885" fmla="*/ 4642529 h 6858000"/>
              <a:gd name="connsiteX1886" fmla="*/ 1477299 w 5794893"/>
              <a:gd name="connsiteY1886" fmla="*/ 4580658 h 6858000"/>
              <a:gd name="connsiteX1887" fmla="*/ 1440428 w 5794893"/>
              <a:gd name="connsiteY1887" fmla="*/ 4639652 h 6858000"/>
              <a:gd name="connsiteX1888" fmla="*/ 1557185 w 5794893"/>
              <a:gd name="connsiteY1888" fmla="*/ 4733059 h 6858000"/>
              <a:gd name="connsiteX1889" fmla="*/ 1594056 w 5794893"/>
              <a:gd name="connsiteY1889" fmla="*/ 4674065 h 6858000"/>
              <a:gd name="connsiteX1890" fmla="*/ 1582707 w 5794893"/>
              <a:gd name="connsiteY1890" fmla="*/ 4664986 h 6858000"/>
              <a:gd name="connsiteX1891" fmla="*/ 1680088 w 5794893"/>
              <a:gd name="connsiteY1891" fmla="*/ 4733059 h 6858000"/>
              <a:gd name="connsiteX1892" fmla="*/ 1713273 w 5794893"/>
              <a:gd name="connsiteY1892" fmla="*/ 4672837 h 6858000"/>
              <a:gd name="connsiteX1893" fmla="*/ 1810366 w 5794893"/>
              <a:gd name="connsiteY1893" fmla="*/ 4733059 h 6858000"/>
              <a:gd name="connsiteX1894" fmla="*/ 1837405 w 5794893"/>
              <a:gd name="connsiteY1894" fmla="*/ 4677753 h 6858000"/>
              <a:gd name="connsiteX1895" fmla="*/ 1940644 w 5794893"/>
              <a:gd name="connsiteY1895" fmla="*/ 4733059 h 6858000"/>
              <a:gd name="connsiteX1896" fmla="*/ 1962766 w 5794893"/>
              <a:gd name="connsiteY1896" fmla="*/ 4681439 h 6858000"/>
              <a:gd name="connsiteX1897" fmla="*/ 2070921 w 5794893"/>
              <a:gd name="connsiteY1897" fmla="*/ 4733059 h 6858000"/>
              <a:gd name="connsiteX1898" fmla="*/ 2088128 w 5794893"/>
              <a:gd name="connsiteY1898" fmla="*/ 4686355 h 6858000"/>
              <a:gd name="connsiteX1899" fmla="*/ 2199970 w 5794893"/>
              <a:gd name="connsiteY1899" fmla="*/ 4733059 h 6858000"/>
              <a:gd name="connsiteX1900" fmla="*/ 2213489 w 5794893"/>
              <a:gd name="connsiteY1900" fmla="*/ 4690043 h 6858000"/>
              <a:gd name="connsiteX1901" fmla="*/ 2329018 w 5794893"/>
              <a:gd name="connsiteY1901" fmla="*/ 4733059 h 6858000"/>
              <a:gd name="connsiteX1902" fmla="*/ 2340080 w 5794893"/>
              <a:gd name="connsiteY1902" fmla="*/ 4694959 h 6858000"/>
              <a:gd name="connsiteX1903" fmla="*/ 2459296 w 5794893"/>
              <a:gd name="connsiteY1903" fmla="*/ 4733059 h 6858000"/>
              <a:gd name="connsiteX1904" fmla="*/ 2467900 w 5794893"/>
              <a:gd name="connsiteY1904" fmla="*/ 4698646 h 6858000"/>
              <a:gd name="connsiteX1905" fmla="*/ 2589573 w 5794893"/>
              <a:gd name="connsiteY1905" fmla="*/ 4733059 h 6858000"/>
              <a:gd name="connsiteX1906" fmla="*/ 2595719 w 5794893"/>
              <a:gd name="connsiteY1906" fmla="*/ 4703562 h 6858000"/>
              <a:gd name="connsiteX1907" fmla="*/ 2718623 w 5794893"/>
              <a:gd name="connsiteY1907" fmla="*/ 4733059 h 6858000"/>
              <a:gd name="connsiteX1908" fmla="*/ 2723539 w 5794893"/>
              <a:gd name="connsiteY1908" fmla="*/ 4707249 h 6858000"/>
              <a:gd name="connsiteX1909" fmla="*/ 2848900 w 5794893"/>
              <a:gd name="connsiteY1909" fmla="*/ 4733059 h 6858000"/>
              <a:gd name="connsiteX1910" fmla="*/ 2852587 w 5794893"/>
              <a:gd name="connsiteY1910" fmla="*/ 4710936 h 6858000"/>
              <a:gd name="connsiteX1911" fmla="*/ 2979178 w 5794893"/>
              <a:gd name="connsiteY1911" fmla="*/ 4733059 h 6858000"/>
              <a:gd name="connsiteX1912" fmla="*/ 2981636 w 5794893"/>
              <a:gd name="connsiteY1912" fmla="*/ 4714624 h 6858000"/>
              <a:gd name="connsiteX1913" fmla="*/ 3108226 w 5794893"/>
              <a:gd name="connsiteY1913" fmla="*/ 4733059 h 6858000"/>
              <a:gd name="connsiteX1914" fmla="*/ 3109455 w 5794893"/>
              <a:gd name="connsiteY1914" fmla="*/ 4717082 h 6858000"/>
              <a:gd name="connsiteX1915" fmla="*/ 3237275 w 5794893"/>
              <a:gd name="connsiteY1915" fmla="*/ 4733059 h 6858000"/>
              <a:gd name="connsiteX1916" fmla="*/ 3238503 w 5794893"/>
              <a:gd name="connsiteY1916" fmla="*/ 4720768 h 6858000"/>
              <a:gd name="connsiteX1917" fmla="*/ 3367552 w 5794893"/>
              <a:gd name="connsiteY1917" fmla="*/ 4733059 h 6858000"/>
              <a:gd name="connsiteX1918" fmla="*/ 3368781 w 5794893"/>
              <a:gd name="connsiteY1918" fmla="*/ 4723226 h 6858000"/>
              <a:gd name="connsiteX1919" fmla="*/ 3497830 w 5794893"/>
              <a:gd name="connsiteY1919" fmla="*/ 4733059 h 6858000"/>
              <a:gd name="connsiteX1920" fmla="*/ 3497830 w 5794893"/>
              <a:gd name="connsiteY1920" fmla="*/ 4725684 h 6858000"/>
              <a:gd name="connsiteX1921" fmla="*/ 3626878 w 5794893"/>
              <a:gd name="connsiteY1921" fmla="*/ 4733059 h 6858000"/>
              <a:gd name="connsiteX1922" fmla="*/ 3626878 w 5794893"/>
              <a:gd name="connsiteY1922" fmla="*/ 4728142 h 6858000"/>
              <a:gd name="connsiteX1923" fmla="*/ 3635482 w 5794893"/>
              <a:gd name="connsiteY1923" fmla="*/ 4728142 h 6858000"/>
              <a:gd name="connsiteX1924" fmla="*/ 3715368 w 5794893"/>
              <a:gd name="connsiteY1924" fmla="*/ 4730600 h 6858000"/>
              <a:gd name="connsiteX1925" fmla="*/ 3715368 w 5794893"/>
              <a:gd name="connsiteY1925" fmla="*/ 4731830 h 6858000"/>
              <a:gd name="connsiteX1926" fmla="*/ 5694112 w 5794893"/>
              <a:gd name="connsiteY1926" fmla="*/ 4773617 h 6858000"/>
              <a:gd name="connsiteX1927" fmla="*/ 3715368 w 5794893"/>
              <a:gd name="connsiteY1927" fmla="*/ 4773617 h 6858000"/>
              <a:gd name="connsiteX1928" fmla="*/ 3715368 w 5794893"/>
              <a:gd name="connsiteY1928" fmla="*/ 4776075 h 6858000"/>
              <a:gd name="connsiteX1929" fmla="*/ 3597381 w 5794893"/>
              <a:gd name="connsiteY1929" fmla="*/ 4773617 h 6858000"/>
              <a:gd name="connsiteX1930" fmla="*/ 3597381 w 5794893"/>
              <a:gd name="connsiteY1930" fmla="*/ 4777304 h 6858000"/>
              <a:gd name="connsiteX1931" fmla="*/ 3479394 w 5794893"/>
              <a:gd name="connsiteY1931" fmla="*/ 4773617 h 6858000"/>
              <a:gd name="connsiteX1932" fmla="*/ 3479394 w 5794893"/>
              <a:gd name="connsiteY1932" fmla="*/ 4779762 h 6858000"/>
              <a:gd name="connsiteX1933" fmla="*/ 3361406 w 5794893"/>
              <a:gd name="connsiteY1933" fmla="*/ 4773617 h 6858000"/>
              <a:gd name="connsiteX1934" fmla="*/ 3361406 w 5794893"/>
              <a:gd name="connsiteY1934" fmla="*/ 4782220 h 6858000"/>
              <a:gd name="connsiteX1935" fmla="*/ 3243419 w 5794893"/>
              <a:gd name="connsiteY1935" fmla="*/ 4773617 h 6858000"/>
              <a:gd name="connsiteX1936" fmla="*/ 3243419 w 5794893"/>
              <a:gd name="connsiteY1936" fmla="*/ 4789594 h 6858000"/>
              <a:gd name="connsiteX1937" fmla="*/ 3126662 w 5794893"/>
              <a:gd name="connsiteY1937" fmla="*/ 4778533 h 6858000"/>
              <a:gd name="connsiteX1938" fmla="*/ 3125432 w 5794893"/>
              <a:gd name="connsiteY1938" fmla="*/ 4793282 h 6858000"/>
              <a:gd name="connsiteX1939" fmla="*/ 3007445 w 5794893"/>
              <a:gd name="connsiteY1939" fmla="*/ 4778533 h 6858000"/>
              <a:gd name="connsiteX1940" fmla="*/ 3006216 w 5794893"/>
              <a:gd name="connsiteY1940" fmla="*/ 4795740 h 6858000"/>
              <a:gd name="connsiteX1941" fmla="*/ 2889458 w 5794893"/>
              <a:gd name="connsiteY1941" fmla="*/ 4778533 h 6858000"/>
              <a:gd name="connsiteX1942" fmla="*/ 2887000 w 5794893"/>
              <a:gd name="connsiteY1942" fmla="*/ 4799426 h 6858000"/>
              <a:gd name="connsiteX1943" fmla="*/ 2771470 w 5794893"/>
              <a:gd name="connsiteY1943" fmla="*/ 4778533 h 6858000"/>
              <a:gd name="connsiteX1944" fmla="*/ 2767784 w 5794893"/>
              <a:gd name="connsiteY1944" fmla="*/ 4801884 h 6858000"/>
              <a:gd name="connsiteX1945" fmla="*/ 2653483 w 5794893"/>
              <a:gd name="connsiteY1945" fmla="*/ 4778533 h 6858000"/>
              <a:gd name="connsiteX1946" fmla="*/ 2648567 w 5794893"/>
              <a:gd name="connsiteY1946" fmla="*/ 4805572 h 6858000"/>
              <a:gd name="connsiteX1947" fmla="*/ 2535496 w 5794893"/>
              <a:gd name="connsiteY1947" fmla="*/ 4778533 h 6858000"/>
              <a:gd name="connsiteX1948" fmla="*/ 2529351 w 5794893"/>
              <a:gd name="connsiteY1948" fmla="*/ 4809259 h 6858000"/>
              <a:gd name="connsiteX1949" fmla="*/ 2417509 w 5794893"/>
              <a:gd name="connsiteY1949" fmla="*/ 4778533 h 6858000"/>
              <a:gd name="connsiteX1950" fmla="*/ 2410134 w 5794893"/>
              <a:gd name="connsiteY1950" fmla="*/ 4814175 h 6858000"/>
              <a:gd name="connsiteX1951" fmla="*/ 2299521 w 5794893"/>
              <a:gd name="connsiteY1951" fmla="*/ 4778533 h 6858000"/>
              <a:gd name="connsiteX1952" fmla="*/ 2289689 w 5794893"/>
              <a:gd name="connsiteY1952" fmla="*/ 4817863 h 6858000"/>
              <a:gd name="connsiteX1953" fmla="*/ 2181534 w 5794893"/>
              <a:gd name="connsiteY1953" fmla="*/ 4778533 h 6858000"/>
              <a:gd name="connsiteX1954" fmla="*/ 2169244 w 5794893"/>
              <a:gd name="connsiteY1954" fmla="*/ 4822779 h 6858000"/>
              <a:gd name="connsiteX1955" fmla="*/ 2063547 w 5794893"/>
              <a:gd name="connsiteY1955" fmla="*/ 4778533 h 6858000"/>
              <a:gd name="connsiteX1956" fmla="*/ 2047570 w 5794893"/>
              <a:gd name="connsiteY1956" fmla="*/ 4827695 h 6858000"/>
              <a:gd name="connsiteX1957" fmla="*/ 1945560 w 5794893"/>
              <a:gd name="connsiteY1957" fmla="*/ 4778533 h 6858000"/>
              <a:gd name="connsiteX1958" fmla="*/ 1925895 w 5794893"/>
              <a:gd name="connsiteY1958" fmla="*/ 4832611 h 6858000"/>
              <a:gd name="connsiteX1959" fmla="*/ 1827572 w 5794893"/>
              <a:gd name="connsiteY1959" fmla="*/ 4778533 h 6858000"/>
              <a:gd name="connsiteX1960" fmla="*/ 1802992 w 5794893"/>
              <a:gd name="connsiteY1960" fmla="*/ 4836297 h 6858000"/>
              <a:gd name="connsiteX1961" fmla="*/ 1709585 w 5794893"/>
              <a:gd name="connsiteY1961" fmla="*/ 4778533 h 6858000"/>
              <a:gd name="connsiteX1962" fmla="*/ 1680088 w 5794893"/>
              <a:gd name="connsiteY1962" fmla="*/ 4841213 h 6858000"/>
              <a:gd name="connsiteX1963" fmla="*/ 1591598 w 5794893"/>
              <a:gd name="connsiteY1963" fmla="*/ 4778533 h 6858000"/>
              <a:gd name="connsiteX1964" fmla="*/ 1557758 w 5794893"/>
              <a:gd name="connsiteY1964" fmla="*/ 4839214 h 6858000"/>
              <a:gd name="connsiteX1965" fmla="*/ 1477299 w 5794893"/>
              <a:gd name="connsiteY1965" fmla="*/ 4774846 h 6858000"/>
              <a:gd name="connsiteX1966" fmla="*/ 1440428 w 5794893"/>
              <a:gd name="connsiteY1966" fmla="*/ 4833839 h 6858000"/>
              <a:gd name="connsiteX1967" fmla="*/ 1557185 w 5794893"/>
              <a:gd name="connsiteY1967" fmla="*/ 4927246 h 6858000"/>
              <a:gd name="connsiteX1968" fmla="*/ 1593698 w 5794893"/>
              <a:gd name="connsiteY1968" fmla="*/ 4868825 h 6858000"/>
              <a:gd name="connsiteX1969" fmla="*/ 1682547 w 5794893"/>
              <a:gd name="connsiteY1969" fmla="*/ 4930934 h 6858000"/>
              <a:gd name="connsiteX1970" fmla="*/ 1715731 w 5794893"/>
              <a:gd name="connsiteY1970" fmla="*/ 4870710 h 6858000"/>
              <a:gd name="connsiteX1971" fmla="*/ 1812824 w 5794893"/>
              <a:gd name="connsiteY1971" fmla="*/ 4930934 h 6858000"/>
              <a:gd name="connsiteX1972" fmla="*/ 1839863 w 5794893"/>
              <a:gd name="connsiteY1972" fmla="*/ 4875626 h 6858000"/>
              <a:gd name="connsiteX1973" fmla="*/ 1943102 w 5794893"/>
              <a:gd name="connsiteY1973" fmla="*/ 4930934 h 6858000"/>
              <a:gd name="connsiteX1974" fmla="*/ 1965224 w 5794893"/>
              <a:gd name="connsiteY1974" fmla="*/ 4879314 h 6858000"/>
              <a:gd name="connsiteX1975" fmla="*/ 2073379 w 5794893"/>
              <a:gd name="connsiteY1975" fmla="*/ 4930934 h 6858000"/>
              <a:gd name="connsiteX1976" fmla="*/ 2090586 w 5794893"/>
              <a:gd name="connsiteY1976" fmla="*/ 4884230 h 6858000"/>
              <a:gd name="connsiteX1977" fmla="*/ 2202428 w 5794893"/>
              <a:gd name="connsiteY1977" fmla="*/ 4930934 h 6858000"/>
              <a:gd name="connsiteX1978" fmla="*/ 2215947 w 5794893"/>
              <a:gd name="connsiteY1978" fmla="*/ 4887917 h 6858000"/>
              <a:gd name="connsiteX1979" fmla="*/ 2331476 w 5794893"/>
              <a:gd name="connsiteY1979" fmla="*/ 4930934 h 6858000"/>
              <a:gd name="connsiteX1980" fmla="*/ 2342538 w 5794893"/>
              <a:gd name="connsiteY1980" fmla="*/ 4892833 h 6858000"/>
              <a:gd name="connsiteX1981" fmla="*/ 2461754 w 5794893"/>
              <a:gd name="connsiteY1981" fmla="*/ 4930934 h 6858000"/>
              <a:gd name="connsiteX1982" fmla="*/ 2470358 w 5794893"/>
              <a:gd name="connsiteY1982" fmla="*/ 4896521 h 6858000"/>
              <a:gd name="connsiteX1983" fmla="*/ 2590803 w 5794893"/>
              <a:gd name="connsiteY1983" fmla="*/ 4930934 h 6858000"/>
              <a:gd name="connsiteX1984" fmla="*/ 2596948 w 5794893"/>
              <a:gd name="connsiteY1984" fmla="*/ 4901437 h 6858000"/>
              <a:gd name="connsiteX1985" fmla="*/ 2719851 w 5794893"/>
              <a:gd name="connsiteY1985" fmla="*/ 4930934 h 6858000"/>
              <a:gd name="connsiteX1986" fmla="*/ 2724767 w 5794893"/>
              <a:gd name="connsiteY1986" fmla="*/ 4905123 h 6858000"/>
              <a:gd name="connsiteX1987" fmla="*/ 2850129 w 5794893"/>
              <a:gd name="connsiteY1987" fmla="*/ 4930934 h 6858000"/>
              <a:gd name="connsiteX1988" fmla="*/ 2853816 w 5794893"/>
              <a:gd name="connsiteY1988" fmla="*/ 4908811 h 6858000"/>
              <a:gd name="connsiteX1989" fmla="*/ 2980406 w 5794893"/>
              <a:gd name="connsiteY1989" fmla="*/ 4930934 h 6858000"/>
              <a:gd name="connsiteX1990" fmla="*/ 2982864 w 5794893"/>
              <a:gd name="connsiteY1990" fmla="*/ 4912497 h 6858000"/>
              <a:gd name="connsiteX1991" fmla="*/ 3109455 w 5794893"/>
              <a:gd name="connsiteY1991" fmla="*/ 4930934 h 6858000"/>
              <a:gd name="connsiteX1992" fmla="*/ 3110684 w 5794893"/>
              <a:gd name="connsiteY1992" fmla="*/ 4914956 h 6858000"/>
              <a:gd name="connsiteX1993" fmla="*/ 3238503 w 5794893"/>
              <a:gd name="connsiteY1993" fmla="*/ 4930934 h 6858000"/>
              <a:gd name="connsiteX1994" fmla="*/ 3239733 w 5794893"/>
              <a:gd name="connsiteY1994" fmla="*/ 4918643 h 6858000"/>
              <a:gd name="connsiteX1995" fmla="*/ 3368781 w 5794893"/>
              <a:gd name="connsiteY1995" fmla="*/ 4930934 h 6858000"/>
              <a:gd name="connsiteX1996" fmla="*/ 3370010 w 5794893"/>
              <a:gd name="connsiteY1996" fmla="*/ 4921101 h 6858000"/>
              <a:gd name="connsiteX1997" fmla="*/ 3499058 w 5794893"/>
              <a:gd name="connsiteY1997" fmla="*/ 4930934 h 6858000"/>
              <a:gd name="connsiteX1998" fmla="*/ 3499058 w 5794893"/>
              <a:gd name="connsiteY1998" fmla="*/ 4923559 h 6858000"/>
              <a:gd name="connsiteX1999" fmla="*/ 3628107 w 5794893"/>
              <a:gd name="connsiteY1999" fmla="*/ 4930934 h 6858000"/>
              <a:gd name="connsiteX2000" fmla="*/ 3628107 w 5794893"/>
              <a:gd name="connsiteY2000" fmla="*/ 4926017 h 6858000"/>
              <a:gd name="connsiteX2001" fmla="*/ 3636710 w 5794893"/>
              <a:gd name="connsiteY2001" fmla="*/ 4926017 h 6858000"/>
              <a:gd name="connsiteX2002" fmla="*/ 3716598 w 5794893"/>
              <a:gd name="connsiteY2002" fmla="*/ 4928476 h 6858000"/>
              <a:gd name="connsiteX2003" fmla="*/ 3716598 w 5794893"/>
              <a:gd name="connsiteY2003" fmla="*/ 4929704 h 6858000"/>
              <a:gd name="connsiteX2004" fmla="*/ 5721151 w 5794893"/>
              <a:gd name="connsiteY2004" fmla="*/ 4971491 h 6858000"/>
              <a:gd name="connsiteX2005" fmla="*/ 3717826 w 5794893"/>
              <a:gd name="connsiteY2005" fmla="*/ 4971491 h 6858000"/>
              <a:gd name="connsiteX2006" fmla="*/ 3717826 w 5794893"/>
              <a:gd name="connsiteY2006" fmla="*/ 4972721 h 6858000"/>
              <a:gd name="connsiteX2007" fmla="*/ 3599839 w 5794893"/>
              <a:gd name="connsiteY2007" fmla="*/ 4970263 h 6858000"/>
              <a:gd name="connsiteX2008" fmla="*/ 3599839 w 5794893"/>
              <a:gd name="connsiteY2008" fmla="*/ 4973949 h 6858000"/>
              <a:gd name="connsiteX2009" fmla="*/ 3481852 w 5794893"/>
              <a:gd name="connsiteY2009" fmla="*/ 4970263 h 6858000"/>
              <a:gd name="connsiteX2010" fmla="*/ 3481852 w 5794893"/>
              <a:gd name="connsiteY2010" fmla="*/ 4976407 h 6858000"/>
              <a:gd name="connsiteX2011" fmla="*/ 3363865 w 5794893"/>
              <a:gd name="connsiteY2011" fmla="*/ 4970263 h 6858000"/>
              <a:gd name="connsiteX2012" fmla="*/ 3363865 w 5794893"/>
              <a:gd name="connsiteY2012" fmla="*/ 4978865 h 6858000"/>
              <a:gd name="connsiteX2013" fmla="*/ 3245877 w 5794893"/>
              <a:gd name="connsiteY2013" fmla="*/ 4970263 h 6858000"/>
              <a:gd name="connsiteX2014" fmla="*/ 3245877 w 5794893"/>
              <a:gd name="connsiteY2014" fmla="*/ 4981323 h 6858000"/>
              <a:gd name="connsiteX2015" fmla="*/ 3127890 w 5794893"/>
              <a:gd name="connsiteY2015" fmla="*/ 4970263 h 6858000"/>
              <a:gd name="connsiteX2016" fmla="*/ 3126662 w 5794893"/>
              <a:gd name="connsiteY2016" fmla="*/ 4985011 h 6858000"/>
              <a:gd name="connsiteX2017" fmla="*/ 3008674 w 5794893"/>
              <a:gd name="connsiteY2017" fmla="*/ 4970263 h 6858000"/>
              <a:gd name="connsiteX2018" fmla="*/ 3007445 w 5794893"/>
              <a:gd name="connsiteY2018" fmla="*/ 4987469 h 6858000"/>
              <a:gd name="connsiteX2019" fmla="*/ 2890687 w 5794893"/>
              <a:gd name="connsiteY2019" fmla="*/ 4970263 h 6858000"/>
              <a:gd name="connsiteX2020" fmla="*/ 2888229 w 5794893"/>
              <a:gd name="connsiteY2020" fmla="*/ 4991156 h 6858000"/>
              <a:gd name="connsiteX2021" fmla="*/ 2772700 w 5794893"/>
              <a:gd name="connsiteY2021" fmla="*/ 4970263 h 6858000"/>
              <a:gd name="connsiteX2022" fmla="*/ 2769012 w 5794893"/>
              <a:gd name="connsiteY2022" fmla="*/ 4994843 h 6858000"/>
              <a:gd name="connsiteX2023" fmla="*/ 2654713 w 5794893"/>
              <a:gd name="connsiteY2023" fmla="*/ 4970263 h 6858000"/>
              <a:gd name="connsiteX2024" fmla="*/ 2649797 w 5794893"/>
              <a:gd name="connsiteY2024" fmla="*/ 4997301 h 6858000"/>
              <a:gd name="connsiteX2025" fmla="*/ 2536726 w 5794893"/>
              <a:gd name="connsiteY2025" fmla="*/ 4970263 h 6858000"/>
              <a:gd name="connsiteX2026" fmla="*/ 2530580 w 5794893"/>
              <a:gd name="connsiteY2026" fmla="*/ 5002218 h 6858000"/>
              <a:gd name="connsiteX2027" fmla="*/ 2418738 w 5794893"/>
              <a:gd name="connsiteY2027" fmla="*/ 4970263 h 6858000"/>
              <a:gd name="connsiteX2028" fmla="*/ 2411364 w 5794893"/>
              <a:gd name="connsiteY2028" fmla="*/ 5005904 h 6858000"/>
              <a:gd name="connsiteX2029" fmla="*/ 2300751 w 5794893"/>
              <a:gd name="connsiteY2029" fmla="*/ 4970263 h 6858000"/>
              <a:gd name="connsiteX2030" fmla="*/ 2290919 w 5794893"/>
              <a:gd name="connsiteY2030" fmla="*/ 5009592 h 6858000"/>
              <a:gd name="connsiteX2031" fmla="*/ 2182764 w 5794893"/>
              <a:gd name="connsiteY2031" fmla="*/ 4970263 h 6858000"/>
              <a:gd name="connsiteX2032" fmla="*/ 2170474 w 5794893"/>
              <a:gd name="connsiteY2032" fmla="*/ 5014508 h 6858000"/>
              <a:gd name="connsiteX2033" fmla="*/ 2064777 w 5794893"/>
              <a:gd name="connsiteY2033" fmla="*/ 4970263 h 6858000"/>
              <a:gd name="connsiteX2034" fmla="*/ 2048799 w 5794893"/>
              <a:gd name="connsiteY2034" fmla="*/ 5019424 h 6858000"/>
              <a:gd name="connsiteX2035" fmla="*/ 1946789 w 5794893"/>
              <a:gd name="connsiteY2035" fmla="*/ 4970263 h 6858000"/>
              <a:gd name="connsiteX2036" fmla="*/ 1927125 w 5794893"/>
              <a:gd name="connsiteY2036" fmla="*/ 5023110 h 6858000"/>
              <a:gd name="connsiteX2037" fmla="*/ 1828802 w 5794893"/>
              <a:gd name="connsiteY2037" fmla="*/ 4970263 h 6858000"/>
              <a:gd name="connsiteX2038" fmla="*/ 1804221 w 5794893"/>
              <a:gd name="connsiteY2038" fmla="*/ 5028027 h 6858000"/>
              <a:gd name="connsiteX2039" fmla="*/ 1710815 w 5794893"/>
              <a:gd name="connsiteY2039" fmla="*/ 4970263 h 6858000"/>
              <a:gd name="connsiteX2040" fmla="*/ 1681318 w 5794893"/>
              <a:gd name="connsiteY2040" fmla="*/ 5032943 h 6858000"/>
              <a:gd name="connsiteX2041" fmla="*/ 1592828 w 5794893"/>
              <a:gd name="connsiteY2041" fmla="*/ 4970263 h 6858000"/>
              <a:gd name="connsiteX2042" fmla="*/ 1557659 w 5794893"/>
              <a:gd name="connsiteY2042" fmla="*/ 5033322 h 6858000"/>
              <a:gd name="connsiteX2043" fmla="*/ 1477299 w 5794893"/>
              <a:gd name="connsiteY2043" fmla="*/ 4969033 h 6858000"/>
              <a:gd name="connsiteX2044" fmla="*/ 1440428 w 5794893"/>
              <a:gd name="connsiteY2044" fmla="*/ 5028027 h 6858000"/>
              <a:gd name="connsiteX2045" fmla="*/ 1557185 w 5794893"/>
              <a:gd name="connsiteY2045" fmla="*/ 5121433 h 6858000"/>
              <a:gd name="connsiteX2046" fmla="*/ 1594056 w 5794893"/>
              <a:gd name="connsiteY2046" fmla="*/ 5062440 h 6858000"/>
              <a:gd name="connsiteX2047" fmla="*/ 1569358 w 5794893"/>
              <a:gd name="connsiteY2047" fmla="*/ 5042682 h 6858000"/>
              <a:gd name="connsiteX2048" fmla="*/ 1683776 w 5794893"/>
              <a:gd name="connsiteY2048" fmla="*/ 5122663 h 6858000"/>
              <a:gd name="connsiteX2049" fmla="*/ 1716959 w 5794893"/>
              <a:gd name="connsiteY2049" fmla="*/ 5062440 h 6858000"/>
              <a:gd name="connsiteX2050" fmla="*/ 1814054 w 5794893"/>
              <a:gd name="connsiteY2050" fmla="*/ 5122663 h 6858000"/>
              <a:gd name="connsiteX2051" fmla="*/ 1841092 w 5794893"/>
              <a:gd name="connsiteY2051" fmla="*/ 5067356 h 6858000"/>
              <a:gd name="connsiteX2052" fmla="*/ 1944331 w 5794893"/>
              <a:gd name="connsiteY2052" fmla="*/ 5122663 h 6858000"/>
              <a:gd name="connsiteX2053" fmla="*/ 1966454 w 5794893"/>
              <a:gd name="connsiteY2053" fmla="*/ 5071043 h 6858000"/>
              <a:gd name="connsiteX2054" fmla="*/ 2074609 w 5794893"/>
              <a:gd name="connsiteY2054" fmla="*/ 5122663 h 6858000"/>
              <a:gd name="connsiteX2055" fmla="*/ 2091815 w 5794893"/>
              <a:gd name="connsiteY2055" fmla="*/ 5075960 h 6858000"/>
              <a:gd name="connsiteX2056" fmla="*/ 2203657 w 5794893"/>
              <a:gd name="connsiteY2056" fmla="*/ 5122663 h 6858000"/>
              <a:gd name="connsiteX2057" fmla="*/ 2217177 w 5794893"/>
              <a:gd name="connsiteY2057" fmla="*/ 5079646 h 6858000"/>
              <a:gd name="connsiteX2058" fmla="*/ 2332706 w 5794893"/>
              <a:gd name="connsiteY2058" fmla="*/ 5122663 h 6858000"/>
              <a:gd name="connsiteX2059" fmla="*/ 2343767 w 5794893"/>
              <a:gd name="connsiteY2059" fmla="*/ 5084562 h 6858000"/>
              <a:gd name="connsiteX2060" fmla="*/ 2462984 w 5794893"/>
              <a:gd name="connsiteY2060" fmla="*/ 5122663 h 6858000"/>
              <a:gd name="connsiteX2061" fmla="*/ 2471586 w 5794893"/>
              <a:gd name="connsiteY2061" fmla="*/ 5088250 h 6858000"/>
              <a:gd name="connsiteX2062" fmla="*/ 2593261 w 5794893"/>
              <a:gd name="connsiteY2062" fmla="*/ 5122663 h 6858000"/>
              <a:gd name="connsiteX2063" fmla="*/ 2599406 w 5794893"/>
              <a:gd name="connsiteY2063" fmla="*/ 5093166 h 6858000"/>
              <a:gd name="connsiteX2064" fmla="*/ 2722309 w 5794893"/>
              <a:gd name="connsiteY2064" fmla="*/ 5122663 h 6858000"/>
              <a:gd name="connsiteX2065" fmla="*/ 2727225 w 5794893"/>
              <a:gd name="connsiteY2065" fmla="*/ 5096852 h 6858000"/>
              <a:gd name="connsiteX2066" fmla="*/ 2852587 w 5794893"/>
              <a:gd name="connsiteY2066" fmla="*/ 5122663 h 6858000"/>
              <a:gd name="connsiteX2067" fmla="*/ 2856274 w 5794893"/>
              <a:gd name="connsiteY2067" fmla="*/ 5100540 h 6858000"/>
              <a:gd name="connsiteX2068" fmla="*/ 2982864 w 5794893"/>
              <a:gd name="connsiteY2068" fmla="*/ 5122663 h 6858000"/>
              <a:gd name="connsiteX2069" fmla="*/ 2985322 w 5794893"/>
              <a:gd name="connsiteY2069" fmla="*/ 5104227 h 6858000"/>
              <a:gd name="connsiteX2070" fmla="*/ 3111913 w 5794893"/>
              <a:gd name="connsiteY2070" fmla="*/ 5122663 h 6858000"/>
              <a:gd name="connsiteX2071" fmla="*/ 3113142 w 5794893"/>
              <a:gd name="connsiteY2071" fmla="*/ 5106685 h 6858000"/>
              <a:gd name="connsiteX2072" fmla="*/ 3240961 w 5794893"/>
              <a:gd name="connsiteY2072" fmla="*/ 5122663 h 6858000"/>
              <a:gd name="connsiteX2073" fmla="*/ 3242191 w 5794893"/>
              <a:gd name="connsiteY2073" fmla="*/ 5110372 h 6858000"/>
              <a:gd name="connsiteX2074" fmla="*/ 3371239 w 5794893"/>
              <a:gd name="connsiteY2074" fmla="*/ 5122663 h 6858000"/>
              <a:gd name="connsiteX2075" fmla="*/ 3372468 w 5794893"/>
              <a:gd name="connsiteY2075" fmla="*/ 5112831 h 6858000"/>
              <a:gd name="connsiteX2076" fmla="*/ 3501516 w 5794893"/>
              <a:gd name="connsiteY2076" fmla="*/ 5122663 h 6858000"/>
              <a:gd name="connsiteX2077" fmla="*/ 3501516 w 5794893"/>
              <a:gd name="connsiteY2077" fmla="*/ 5115289 h 6858000"/>
              <a:gd name="connsiteX2078" fmla="*/ 3630565 w 5794893"/>
              <a:gd name="connsiteY2078" fmla="*/ 5122663 h 6858000"/>
              <a:gd name="connsiteX2079" fmla="*/ 3630565 w 5794893"/>
              <a:gd name="connsiteY2079" fmla="*/ 5117747 h 6858000"/>
              <a:gd name="connsiteX2080" fmla="*/ 3639168 w 5794893"/>
              <a:gd name="connsiteY2080" fmla="*/ 5117747 h 6858000"/>
              <a:gd name="connsiteX2081" fmla="*/ 3719056 w 5794893"/>
              <a:gd name="connsiteY2081" fmla="*/ 5120205 h 6858000"/>
              <a:gd name="connsiteX2082" fmla="*/ 3719056 w 5794893"/>
              <a:gd name="connsiteY2082" fmla="*/ 5121433 h 6858000"/>
              <a:gd name="connsiteX2083" fmla="*/ 5716236 w 5794893"/>
              <a:gd name="connsiteY2083" fmla="*/ 5163220 h 6858000"/>
              <a:gd name="connsiteX2084" fmla="*/ 3719056 w 5794893"/>
              <a:gd name="connsiteY2084" fmla="*/ 5163220 h 6858000"/>
              <a:gd name="connsiteX2085" fmla="*/ 3719056 w 5794893"/>
              <a:gd name="connsiteY2085" fmla="*/ 5165678 h 6858000"/>
              <a:gd name="connsiteX2086" fmla="*/ 3601069 w 5794893"/>
              <a:gd name="connsiteY2086" fmla="*/ 5163220 h 6858000"/>
              <a:gd name="connsiteX2087" fmla="*/ 3601069 w 5794893"/>
              <a:gd name="connsiteY2087" fmla="*/ 5166908 h 6858000"/>
              <a:gd name="connsiteX2088" fmla="*/ 3483081 w 5794893"/>
              <a:gd name="connsiteY2088" fmla="*/ 5163220 h 6858000"/>
              <a:gd name="connsiteX2089" fmla="*/ 3483081 w 5794893"/>
              <a:gd name="connsiteY2089" fmla="*/ 5169366 h 6858000"/>
              <a:gd name="connsiteX2090" fmla="*/ 3365094 w 5794893"/>
              <a:gd name="connsiteY2090" fmla="*/ 5163220 h 6858000"/>
              <a:gd name="connsiteX2091" fmla="*/ 3365094 w 5794893"/>
              <a:gd name="connsiteY2091" fmla="*/ 5171824 h 6858000"/>
              <a:gd name="connsiteX2092" fmla="*/ 3247107 w 5794893"/>
              <a:gd name="connsiteY2092" fmla="*/ 5163220 h 6858000"/>
              <a:gd name="connsiteX2093" fmla="*/ 3247107 w 5794893"/>
              <a:gd name="connsiteY2093" fmla="*/ 5174282 h 6858000"/>
              <a:gd name="connsiteX2094" fmla="*/ 3129120 w 5794893"/>
              <a:gd name="connsiteY2094" fmla="*/ 5163220 h 6858000"/>
              <a:gd name="connsiteX2095" fmla="*/ 3127890 w 5794893"/>
              <a:gd name="connsiteY2095" fmla="*/ 5177969 h 6858000"/>
              <a:gd name="connsiteX2096" fmla="*/ 3009903 w 5794893"/>
              <a:gd name="connsiteY2096" fmla="*/ 5163220 h 6858000"/>
              <a:gd name="connsiteX2097" fmla="*/ 3008674 w 5794893"/>
              <a:gd name="connsiteY2097" fmla="*/ 5180427 h 6858000"/>
              <a:gd name="connsiteX2098" fmla="*/ 2891916 w 5794893"/>
              <a:gd name="connsiteY2098" fmla="*/ 5163220 h 6858000"/>
              <a:gd name="connsiteX2099" fmla="*/ 2889458 w 5794893"/>
              <a:gd name="connsiteY2099" fmla="*/ 5184115 h 6858000"/>
              <a:gd name="connsiteX2100" fmla="*/ 2773928 w 5794893"/>
              <a:gd name="connsiteY2100" fmla="*/ 5163220 h 6858000"/>
              <a:gd name="connsiteX2101" fmla="*/ 2770242 w 5794893"/>
              <a:gd name="connsiteY2101" fmla="*/ 5187801 h 6858000"/>
              <a:gd name="connsiteX2102" fmla="*/ 2655941 w 5794893"/>
              <a:gd name="connsiteY2102" fmla="*/ 5163220 h 6858000"/>
              <a:gd name="connsiteX2103" fmla="*/ 2651025 w 5794893"/>
              <a:gd name="connsiteY2103" fmla="*/ 5190259 h 6858000"/>
              <a:gd name="connsiteX2104" fmla="*/ 2537954 w 5794893"/>
              <a:gd name="connsiteY2104" fmla="*/ 5163220 h 6858000"/>
              <a:gd name="connsiteX2105" fmla="*/ 2531809 w 5794893"/>
              <a:gd name="connsiteY2105" fmla="*/ 5195175 h 6858000"/>
              <a:gd name="connsiteX2106" fmla="*/ 2419967 w 5794893"/>
              <a:gd name="connsiteY2106" fmla="*/ 5163220 h 6858000"/>
              <a:gd name="connsiteX2107" fmla="*/ 2412593 w 5794893"/>
              <a:gd name="connsiteY2107" fmla="*/ 5198863 h 6858000"/>
              <a:gd name="connsiteX2108" fmla="*/ 2301980 w 5794893"/>
              <a:gd name="connsiteY2108" fmla="*/ 5163220 h 6858000"/>
              <a:gd name="connsiteX2109" fmla="*/ 2292147 w 5794893"/>
              <a:gd name="connsiteY2109" fmla="*/ 5202549 h 6858000"/>
              <a:gd name="connsiteX2110" fmla="*/ 2183992 w 5794893"/>
              <a:gd name="connsiteY2110" fmla="*/ 5163220 h 6858000"/>
              <a:gd name="connsiteX2111" fmla="*/ 2171702 w 5794893"/>
              <a:gd name="connsiteY2111" fmla="*/ 5207466 h 6858000"/>
              <a:gd name="connsiteX2112" fmla="*/ 2066005 w 5794893"/>
              <a:gd name="connsiteY2112" fmla="*/ 5163220 h 6858000"/>
              <a:gd name="connsiteX2113" fmla="*/ 2050028 w 5794893"/>
              <a:gd name="connsiteY2113" fmla="*/ 5212382 h 6858000"/>
              <a:gd name="connsiteX2114" fmla="*/ 1948018 w 5794893"/>
              <a:gd name="connsiteY2114" fmla="*/ 5163220 h 6858000"/>
              <a:gd name="connsiteX2115" fmla="*/ 1928353 w 5794893"/>
              <a:gd name="connsiteY2115" fmla="*/ 5216069 h 6858000"/>
              <a:gd name="connsiteX2116" fmla="*/ 1830031 w 5794893"/>
              <a:gd name="connsiteY2116" fmla="*/ 5163220 h 6858000"/>
              <a:gd name="connsiteX2117" fmla="*/ 1805450 w 5794893"/>
              <a:gd name="connsiteY2117" fmla="*/ 5220986 h 6858000"/>
              <a:gd name="connsiteX2118" fmla="*/ 1712043 w 5794893"/>
              <a:gd name="connsiteY2118" fmla="*/ 5163220 h 6858000"/>
              <a:gd name="connsiteX2119" fmla="*/ 1682547 w 5794893"/>
              <a:gd name="connsiteY2119" fmla="*/ 5225902 h 6858000"/>
              <a:gd name="connsiteX2120" fmla="*/ 1594056 w 5794893"/>
              <a:gd name="connsiteY2120" fmla="*/ 5163220 h 6858000"/>
              <a:gd name="connsiteX2121" fmla="*/ 1558415 w 5794893"/>
              <a:gd name="connsiteY2121" fmla="*/ 5227130 h 6858000"/>
              <a:gd name="connsiteX2122" fmla="*/ 1685005 w 5794893"/>
              <a:gd name="connsiteY2122" fmla="*/ 5315620 h 6858000"/>
              <a:gd name="connsiteX2123" fmla="*/ 1718189 w 5794893"/>
              <a:gd name="connsiteY2123" fmla="*/ 5255398 h 6858000"/>
              <a:gd name="connsiteX2124" fmla="*/ 1815282 w 5794893"/>
              <a:gd name="connsiteY2124" fmla="*/ 5315620 h 6858000"/>
              <a:gd name="connsiteX2125" fmla="*/ 1842321 w 5794893"/>
              <a:gd name="connsiteY2125" fmla="*/ 5260315 h 6858000"/>
              <a:gd name="connsiteX2126" fmla="*/ 1945560 w 5794893"/>
              <a:gd name="connsiteY2126" fmla="*/ 5315620 h 6858000"/>
              <a:gd name="connsiteX2127" fmla="*/ 1967682 w 5794893"/>
              <a:gd name="connsiteY2127" fmla="*/ 5264001 h 6858000"/>
              <a:gd name="connsiteX2128" fmla="*/ 2075837 w 5794893"/>
              <a:gd name="connsiteY2128" fmla="*/ 5315620 h 6858000"/>
              <a:gd name="connsiteX2129" fmla="*/ 2093044 w 5794893"/>
              <a:gd name="connsiteY2129" fmla="*/ 5268917 h 6858000"/>
              <a:gd name="connsiteX2130" fmla="*/ 2204887 w 5794893"/>
              <a:gd name="connsiteY2130" fmla="*/ 5315620 h 6858000"/>
              <a:gd name="connsiteX2131" fmla="*/ 2218405 w 5794893"/>
              <a:gd name="connsiteY2131" fmla="*/ 5272605 h 6858000"/>
              <a:gd name="connsiteX2132" fmla="*/ 2333934 w 5794893"/>
              <a:gd name="connsiteY2132" fmla="*/ 5315620 h 6858000"/>
              <a:gd name="connsiteX2133" fmla="*/ 2344996 w 5794893"/>
              <a:gd name="connsiteY2133" fmla="*/ 5277521 h 6858000"/>
              <a:gd name="connsiteX2134" fmla="*/ 2464212 w 5794893"/>
              <a:gd name="connsiteY2134" fmla="*/ 5315620 h 6858000"/>
              <a:gd name="connsiteX2135" fmla="*/ 2472816 w 5794893"/>
              <a:gd name="connsiteY2135" fmla="*/ 5281208 h 6858000"/>
              <a:gd name="connsiteX2136" fmla="*/ 2594490 w 5794893"/>
              <a:gd name="connsiteY2136" fmla="*/ 5315620 h 6858000"/>
              <a:gd name="connsiteX2137" fmla="*/ 2600635 w 5794893"/>
              <a:gd name="connsiteY2137" fmla="*/ 5286124 h 6858000"/>
              <a:gd name="connsiteX2138" fmla="*/ 2723539 w 5794893"/>
              <a:gd name="connsiteY2138" fmla="*/ 5315620 h 6858000"/>
              <a:gd name="connsiteX2139" fmla="*/ 2728455 w 5794893"/>
              <a:gd name="connsiteY2139" fmla="*/ 5289811 h 6858000"/>
              <a:gd name="connsiteX2140" fmla="*/ 2853816 w 5794893"/>
              <a:gd name="connsiteY2140" fmla="*/ 5316850 h 6858000"/>
              <a:gd name="connsiteX2141" fmla="*/ 2857503 w 5794893"/>
              <a:gd name="connsiteY2141" fmla="*/ 5294728 h 6858000"/>
              <a:gd name="connsiteX2142" fmla="*/ 2984094 w 5794893"/>
              <a:gd name="connsiteY2142" fmla="*/ 5316850 h 6858000"/>
              <a:gd name="connsiteX2143" fmla="*/ 2986552 w 5794893"/>
              <a:gd name="connsiteY2143" fmla="*/ 5298414 h 6858000"/>
              <a:gd name="connsiteX2144" fmla="*/ 3113142 w 5794893"/>
              <a:gd name="connsiteY2144" fmla="*/ 5316850 h 6858000"/>
              <a:gd name="connsiteX2145" fmla="*/ 3114371 w 5794893"/>
              <a:gd name="connsiteY2145" fmla="*/ 5300872 h 6858000"/>
              <a:gd name="connsiteX2146" fmla="*/ 3242191 w 5794893"/>
              <a:gd name="connsiteY2146" fmla="*/ 5316850 h 6858000"/>
              <a:gd name="connsiteX2147" fmla="*/ 3243419 w 5794893"/>
              <a:gd name="connsiteY2147" fmla="*/ 5304560 h 6858000"/>
              <a:gd name="connsiteX2148" fmla="*/ 3372468 w 5794893"/>
              <a:gd name="connsiteY2148" fmla="*/ 5316850 h 6858000"/>
              <a:gd name="connsiteX2149" fmla="*/ 3373697 w 5794893"/>
              <a:gd name="connsiteY2149" fmla="*/ 5307018 h 6858000"/>
              <a:gd name="connsiteX2150" fmla="*/ 3502746 w 5794893"/>
              <a:gd name="connsiteY2150" fmla="*/ 5316850 h 6858000"/>
              <a:gd name="connsiteX2151" fmla="*/ 3502746 w 5794893"/>
              <a:gd name="connsiteY2151" fmla="*/ 5309476 h 6858000"/>
              <a:gd name="connsiteX2152" fmla="*/ 3631794 w 5794893"/>
              <a:gd name="connsiteY2152" fmla="*/ 5316850 h 6858000"/>
              <a:gd name="connsiteX2153" fmla="*/ 3631794 w 5794893"/>
              <a:gd name="connsiteY2153" fmla="*/ 5311934 h 6858000"/>
              <a:gd name="connsiteX2154" fmla="*/ 3640398 w 5794893"/>
              <a:gd name="connsiteY2154" fmla="*/ 5311934 h 6858000"/>
              <a:gd name="connsiteX2155" fmla="*/ 3720284 w 5794893"/>
              <a:gd name="connsiteY2155" fmla="*/ 5314392 h 6858000"/>
              <a:gd name="connsiteX2156" fmla="*/ 3720284 w 5794893"/>
              <a:gd name="connsiteY2156" fmla="*/ 5318079 h 6858000"/>
              <a:gd name="connsiteX2157" fmla="*/ 5611768 w 5794893"/>
              <a:gd name="connsiteY2157" fmla="*/ 5353721 h 6858000"/>
              <a:gd name="connsiteX2158" fmla="*/ 3720284 w 5794893"/>
              <a:gd name="connsiteY2158" fmla="*/ 5353721 h 6858000"/>
              <a:gd name="connsiteX2159" fmla="*/ 3720284 w 5794893"/>
              <a:gd name="connsiteY2159" fmla="*/ 5354950 h 6858000"/>
              <a:gd name="connsiteX2160" fmla="*/ 3602297 w 5794893"/>
              <a:gd name="connsiteY2160" fmla="*/ 5352493 h 6858000"/>
              <a:gd name="connsiteX2161" fmla="*/ 3602297 w 5794893"/>
              <a:gd name="connsiteY2161" fmla="*/ 5356179 h 6858000"/>
              <a:gd name="connsiteX2162" fmla="*/ 3484310 w 5794893"/>
              <a:gd name="connsiteY2162" fmla="*/ 5352493 h 6858000"/>
              <a:gd name="connsiteX2163" fmla="*/ 3484310 w 5794893"/>
              <a:gd name="connsiteY2163" fmla="*/ 5358637 h 6858000"/>
              <a:gd name="connsiteX2164" fmla="*/ 3366323 w 5794893"/>
              <a:gd name="connsiteY2164" fmla="*/ 5352493 h 6858000"/>
              <a:gd name="connsiteX2165" fmla="*/ 3366323 w 5794893"/>
              <a:gd name="connsiteY2165" fmla="*/ 5361095 h 6858000"/>
              <a:gd name="connsiteX2166" fmla="*/ 3248335 w 5794893"/>
              <a:gd name="connsiteY2166" fmla="*/ 5352493 h 6858000"/>
              <a:gd name="connsiteX2167" fmla="*/ 3248335 w 5794893"/>
              <a:gd name="connsiteY2167" fmla="*/ 5363553 h 6858000"/>
              <a:gd name="connsiteX2168" fmla="*/ 3130348 w 5794893"/>
              <a:gd name="connsiteY2168" fmla="*/ 5352493 h 6858000"/>
              <a:gd name="connsiteX2169" fmla="*/ 3129120 w 5794893"/>
              <a:gd name="connsiteY2169" fmla="*/ 5367240 h 6858000"/>
              <a:gd name="connsiteX2170" fmla="*/ 3011133 w 5794893"/>
              <a:gd name="connsiteY2170" fmla="*/ 5352493 h 6858000"/>
              <a:gd name="connsiteX2171" fmla="*/ 3009903 w 5794893"/>
              <a:gd name="connsiteY2171" fmla="*/ 5369698 h 6858000"/>
              <a:gd name="connsiteX2172" fmla="*/ 2893145 w 5794893"/>
              <a:gd name="connsiteY2172" fmla="*/ 5352493 h 6858000"/>
              <a:gd name="connsiteX2173" fmla="*/ 2890687 w 5794893"/>
              <a:gd name="connsiteY2173" fmla="*/ 5373386 h 6858000"/>
              <a:gd name="connsiteX2174" fmla="*/ 2775158 w 5794893"/>
              <a:gd name="connsiteY2174" fmla="*/ 5352493 h 6858000"/>
              <a:gd name="connsiteX2175" fmla="*/ 2771470 w 5794893"/>
              <a:gd name="connsiteY2175" fmla="*/ 5375844 h 6858000"/>
              <a:gd name="connsiteX2176" fmla="*/ 2657171 w 5794893"/>
              <a:gd name="connsiteY2176" fmla="*/ 5352493 h 6858000"/>
              <a:gd name="connsiteX2177" fmla="*/ 2652255 w 5794893"/>
              <a:gd name="connsiteY2177" fmla="*/ 5379530 h 6858000"/>
              <a:gd name="connsiteX2178" fmla="*/ 2539184 w 5794893"/>
              <a:gd name="connsiteY2178" fmla="*/ 5352493 h 6858000"/>
              <a:gd name="connsiteX2179" fmla="*/ 2533038 w 5794893"/>
              <a:gd name="connsiteY2179" fmla="*/ 5383218 h 6858000"/>
              <a:gd name="connsiteX2180" fmla="*/ 2421196 w 5794893"/>
              <a:gd name="connsiteY2180" fmla="*/ 5352493 h 6858000"/>
              <a:gd name="connsiteX2181" fmla="*/ 2413822 w 5794893"/>
              <a:gd name="connsiteY2181" fmla="*/ 5388134 h 6858000"/>
              <a:gd name="connsiteX2182" fmla="*/ 2303209 w 5794893"/>
              <a:gd name="connsiteY2182" fmla="*/ 5352493 h 6858000"/>
              <a:gd name="connsiteX2183" fmla="*/ 2293377 w 5794893"/>
              <a:gd name="connsiteY2183" fmla="*/ 5391821 h 6858000"/>
              <a:gd name="connsiteX2184" fmla="*/ 2185222 w 5794893"/>
              <a:gd name="connsiteY2184" fmla="*/ 5352493 h 6858000"/>
              <a:gd name="connsiteX2185" fmla="*/ 2172932 w 5794893"/>
              <a:gd name="connsiteY2185" fmla="*/ 5396738 h 6858000"/>
              <a:gd name="connsiteX2186" fmla="*/ 2067235 w 5794893"/>
              <a:gd name="connsiteY2186" fmla="*/ 5352493 h 6858000"/>
              <a:gd name="connsiteX2187" fmla="*/ 2051257 w 5794893"/>
              <a:gd name="connsiteY2187" fmla="*/ 5401654 h 6858000"/>
              <a:gd name="connsiteX2188" fmla="*/ 1949247 w 5794893"/>
              <a:gd name="connsiteY2188" fmla="*/ 5352493 h 6858000"/>
              <a:gd name="connsiteX2189" fmla="*/ 1929583 w 5794893"/>
              <a:gd name="connsiteY2189" fmla="*/ 5405341 h 6858000"/>
              <a:gd name="connsiteX2190" fmla="*/ 1831260 w 5794893"/>
              <a:gd name="connsiteY2190" fmla="*/ 5352493 h 6858000"/>
              <a:gd name="connsiteX2191" fmla="*/ 1806680 w 5794893"/>
              <a:gd name="connsiteY2191" fmla="*/ 5410257 h 6858000"/>
              <a:gd name="connsiteX2192" fmla="*/ 1713273 w 5794893"/>
              <a:gd name="connsiteY2192" fmla="*/ 5352493 h 6858000"/>
              <a:gd name="connsiteX2193" fmla="*/ 1683776 w 5794893"/>
              <a:gd name="connsiteY2193" fmla="*/ 5415173 h 6858000"/>
              <a:gd name="connsiteX2194" fmla="*/ 1595286 w 5794893"/>
              <a:gd name="connsiteY2194" fmla="*/ 5353721 h 6858000"/>
              <a:gd name="connsiteX2195" fmla="*/ 1559643 w 5794893"/>
              <a:gd name="connsiteY2195" fmla="*/ 5417631 h 6858000"/>
              <a:gd name="connsiteX2196" fmla="*/ 1686234 w 5794893"/>
              <a:gd name="connsiteY2196" fmla="*/ 5506121 h 6858000"/>
              <a:gd name="connsiteX2197" fmla="*/ 1719418 w 5794893"/>
              <a:gd name="connsiteY2197" fmla="*/ 5445899 h 6858000"/>
              <a:gd name="connsiteX2198" fmla="*/ 1816512 w 5794893"/>
              <a:gd name="connsiteY2198" fmla="*/ 5506121 h 6858000"/>
              <a:gd name="connsiteX2199" fmla="*/ 1843551 w 5794893"/>
              <a:gd name="connsiteY2199" fmla="*/ 5450815 h 6858000"/>
              <a:gd name="connsiteX2200" fmla="*/ 1946789 w 5794893"/>
              <a:gd name="connsiteY2200" fmla="*/ 5506121 h 6858000"/>
              <a:gd name="connsiteX2201" fmla="*/ 1968912 w 5794893"/>
              <a:gd name="connsiteY2201" fmla="*/ 5454502 h 6858000"/>
              <a:gd name="connsiteX2202" fmla="*/ 2077067 w 5794893"/>
              <a:gd name="connsiteY2202" fmla="*/ 5506121 h 6858000"/>
              <a:gd name="connsiteX2203" fmla="*/ 2094273 w 5794893"/>
              <a:gd name="connsiteY2203" fmla="*/ 5459418 h 6858000"/>
              <a:gd name="connsiteX2204" fmla="*/ 2206115 w 5794893"/>
              <a:gd name="connsiteY2204" fmla="*/ 5506121 h 6858000"/>
              <a:gd name="connsiteX2205" fmla="*/ 2219635 w 5794893"/>
              <a:gd name="connsiteY2205" fmla="*/ 5463106 h 6858000"/>
              <a:gd name="connsiteX2206" fmla="*/ 2335164 w 5794893"/>
              <a:gd name="connsiteY2206" fmla="*/ 5506121 h 6858000"/>
              <a:gd name="connsiteX2207" fmla="*/ 2346225 w 5794893"/>
              <a:gd name="connsiteY2207" fmla="*/ 5468021 h 6858000"/>
              <a:gd name="connsiteX2208" fmla="*/ 2465442 w 5794893"/>
              <a:gd name="connsiteY2208" fmla="*/ 5506121 h 6858000"/>
              <a:gd name="connsiteX2209" fmla="*/ 2474044 w 5794893"/>
              <a:gd name="connsiteY2209" fmla="*/ 5471708 h 6858000"/>
              <a:gd name="connsiteX2210" fmla="*/ 2595719 w 5794893"/>
              <a:gd name="connsiteY2210" fmla="*/ 5506121 h 6858000"/>
              <a:gd name="connsiteX2211" fmla="*/ 2601864 w 5794893"/>
              <a:gd name="connsiteY2211" fmla="*/ 5476625 h 6858000"/>
              <a:gd name="connsiteX2212" fmla="*/ 2724767 w 5794893"/>
              <a:gd name="connsiteY2212" fmla="*/ 5506121 h 6858000"/>
              <a:gd name="connsiteX2213" fmla="*/ 2729683 w 5794893"/>
              <a:gd name="connsiteY2213" fmla="*/ 5480311 h 6858000"/>
              <a:gd name="connsiteX2214" fmla="*/ 2855045 w 5794893"/>
              <a:gd name="connsiteY2214" fmla="*/ 5506121 h 6858000"/>
              <a:gd name="connsiteX2215" fmla="*/ 2858732 w 5794893"/>
              <a:gd name="connsiteY2215" fmla="*/ 5483999 h 6858000"/>
              <a:gd name="connsiteX2216" fmla="*/ 2985322 w 5794893"/>
              <a:gd name="connsiteY2216" fmla="*/ 5506121 h 6858000"/>
              <a:gd name="connsiteX2217" fmla="*/ 2987780 w 5794893"/>
              <a:gd name="connsiteY2217" fmla="*/ 5487686 h 6858000"/>
              <a:gd name="connsiteX2218" fmla="*/ 3114371 w 5794893"/>
              <a:gd name="connsiteY2218" fmla="*/ 5506121 h 6858000"/>
              <a:gd name="connsiteX2219" fmla="*/ 3115600 w 5794893"/>
              <a:gd name="connsiteY2219" fmla="*/ 5490143 h 6858000"/>
              <a:gd name="connsiteX2220" fmla="*/ 3243419 w 5794893"/>
              <a:gd name="connsiteY2220" fmla="*/ 5506121 h 6858000"/>
              <a:gd name="connsiteX2221" fmla="*/ 3244649 w 5794893"/>
              <a:gd name="connsiteY2221" fmla="*/ 5493831 h 6858000"/>
              <a:gd name="connsiteX2222" fmla="*/ 3373697 w 5794893"/>
              <a:gd name="connsiteY2222" fmla="*/ 5506121 h 6858000"/>
              <a:gd name="connsiteX2223" fmla="*/ 3374927 w 5794893"/>
              <a:gd name="connsiteY2223" fmla="*/ 5496289 h 6858000"/>
              <a:gd name="connsiteX2224" fmla="*/ 3503974 w 5794893"/>
              <a:gd name="connsiteY2224" fmla="*/ 5506121 h 6858000"/>
              <a:gd name="connsiteX2225" fmla="*/ 3503974 w 5794893"/>
              <a:gd name="connsiteY2225" fmla="*/ 5498747 h 6858000"/>
              <a:gd name="connsiteX2226" fmla="*/ 3633024 w 5794893"/>
              <a:gd name="connsiteY2226" fmla="*/ 5506121 h 6858000"/>
              <a:gd name="connsiteX2227" fmla="*/ 3633024 w 5794893"/>
              <a:gd name="connsiteY2227" fmla="*/ 5501205 h 6858000"/>
              <a:gd name="connsiteX2228" fmla="*/ 3641626 w 5794893"/>
              <a:gd name="connsiteY2228" fmla="*/ 5501205 h 6858000"/>
              <a:gd name="connsiteX2229" fmla="*/ 3721514 w 5794893"/>
              <a:gd name="connsiteY2229" fmla="*/ 5503663 h 6858000"/>
              <a:gd name="connsiteX2230" fmla="*/ 3721514 w 5794893"/>
              <a:gd name="connsiteY2230" fmla="*/ 5504892 h 6858000"/>
              <a:gd name="connsiteX2231" fmla="*/ 5766626 w 5794893"/>
              <a:gd name="connsiteY2231" fmla="*/ 5542992 h 6858000"/>
              <a:gd name="connsiteX2232" fmla="*/ 3720284 w 5794893"/>
              <a:gd name="connsiteY2232" fmla="*/ 5542992 h 6858000"/>
              <a:gd name="connsiteX2233" fmla="*/ 3720284 w 5794893"/>
              <a:gd name="connsiteY2233" fmla="*/ 5545450 h 6858000"/>
              <a:gd name="connsiteX2234" fmla="*/ 3602297 w 5794893"/>
              <a:gd name="connsiteY2234" fmla="*/ 5542992 h 6858000"/>
              <a:gd name="connsiteX2235" fmla="*/ 3602297 w 5794893"/>
              <a:gd name="connsiteY2235" fmla="*/ 5546679 h 6858000"/>
              <a:gd name="connsiteX2236" fmla="*/ 3484310 w 5794893"/>
              <a:gd name="connsiteY2236" fmla="*/ 5542992 h 6858000"/>
              <a:gd name="connsiteX2237" fmla="*/ 3484310 w 5794893"/>
              <a:gd name="connsiteY2237" fmla="*/ 5549138 h 6858000"/>
              <a:gd name="connsiteX2238" fmla="*/ 3366323 w 5794893"/>
              <a:gd name="connsiteY2238" fmla="*/ 5542992 h 6858000"/>
              <a:gd name="connsiteX2239" fmla="*/ 3366323 w 5794893"/>
              <a:gd name="connsiteY2239" fmla="*/ 5551595 h 6858000"/>
              <a:gd name="connsiteX2240" fmla="*/ 3248335 w 5794893"/>
              <a:gd name="connsiteY2240" fmla="*/ 5542992 h 6858000"/>
              <a:gd name="connsiteX2241" fmla="*/ 3248335 w 5794893"/>
              <a:gd name="connsiteY2241" fmla="*/ 5554053 h 6858000"/>
              <a:gd name="connsiteX2242" fmla="*/ 3130348 w 5794893"/>
              <a:gd name="connsiteY2242" fmla="*/ 5542992 h 6858000"/>
              <a:gd name="connsiteX2243" fmla="*/ 3129120 w 5794893"/>
              <a:gd name="connsiteY2243" fmla="*/ 5557741 h 6858000"/>
              <a:gd name="connsiteX2244" fmla="*/ 3011133 w 5794893"/>
              <a:gd name="connsiteY2244" fmla="*/ 5542992 h 6858000"/>
              <a:gd name="connsiteX2245" fmla="*/ 3009903 w 5794893"/>
              <a:gd name="connsiteY2245" fmla="*/ 5560199 h 6858000"/>
              <a:gd name="connsiteX2246" fmla="*/ 2893145 w 5794893"/>
              <a:gd name="connsiteY2246" fmla="*/ 5542992 h 6858000"/>
              <a:gd name="connsiteX2247" fmla="*/ 2890687 w 5794893"/>
              <a:gd name="connsiteY2247" fmla="*/ 5563885 h 6858000"/>
              <a:gd name="connsiteX2248" fmla="*/ 2775158 w 5794893"/>
              <a:gd name="connsiteY2248" fmla="*/ 5542992 h 6858000"/>
              <a:gd name="connsiteX2249" fmla="*/ 2771470 w 5794893"/>
              <a:gd name="connsiteY2249" fmla="*/ 5567573 h 6858000"/>
              <a:gd name="connsiteX2250" fmla="*/ 2657171 w 5794893"/>
              <a:gd name="connsiteY2250" fmla="*/ 5542992 h 6858000"/>
              <a:gd name="connsiteX2251" fmla="*/ 2652255 w 5794893"/>
              <a:gd name="connsiteY2251" fmla="*/ 5570031 h 6858000"/>
              <a:gd name="connsiteX2252" fmla="*/ 2539184 w 5794893"/>
              <a:gd name="connsiteY2252" fmla="*/ 5542992 h 6858000"/>
              <a:gd name="connsiteX2253" fmla="*/ 2533038 w 5794893"/>
              <a:gd name="connsiteY2253" fmla="*/ 5574947 h 6858000"/>
              <a:gd name="connsiteX2254" fmla="*/ 2421196 w 5794893"/>
              <a:gd name="connsiteY2254" fmla="*/ 5542992 h 6858000"/>
              <a:gd name="connsiteX2255" fmla="*/ 2413822 w 5794893"/>
              <a:gd name="connsiteY2255" fmla="*/ 5578634 h 6858000"/>
              <a:gd name="connsiteX2256" fmla="*/ 2303209 w 5794893"/>
              <a:gd name="connsiteY2256" fmla="*/ 5542992 h 6858000"/>
              <a:gd name="connsiteX2257" fmla="*/ 2293377 w 5794893"/>
              <a:gd name="connsiteY2257" fmla="*/ 5582321 h 6858000"/>
              <a:gd name="connsiteX2258" fmla="*/ 2185222 w 5794893"/>
              <a:gd name="connsiteY2258" fmla="*/ 5542992 h 6858000"/>
              <a:gd name="connsiteX2259" fmla="*/ 2172932 w 5794893"/>
              <a:gd name="connsiteY2259" fmla="*/ 5587238 h 6858000"/>
              <a:gd name="connsiteX2260" fmla="*/ 2067235 w 5794893"/>
              <a:gd name="connsiteY2260" fmla="*/ 5542992 h 6858000"/>
              <a:gd name="connsiteX2261" fmla="*/ 2051257 w 5794893"/>
              <a:gd name="connsiteY2261" fmla="*/ 5592154 h 6858000"/>
              <a:gd name="connsiteX2262" fmla="*/ 1949247 w 5794893"/>
              <a:gd name="connsiteY2262" fmla="*/ 5542992 h 6858000"/>
              <a:gd name="connsiteX2263" fmla="*/ 1929583 w 5794893"/>
              <a:gd name="connsiteY2263" fmla="*/ 5595840 h 6858000"/>
              <a:gd name="connsiteX2264" fmla="*/ 1831260 w 5794893"/>
              <a:gd name="connsiteY2264" fmla="*/ 5542992 h 6858000"/>
              <a:gd name="connsiteX2265" fmla="*/ 1806680 w 5794893"/>
              <a:gd name="connsiteY2265" fmla="*/ 5600756 h 6858000"/>
              <a:gd name="connsiteX2266" fmla="*/ 1713273 w 5794893"/>
              <a:gd name="connsiteY2266" fmla="*/ 5542992 h 6858000"/>
              <a:gd name="connsiteX2267" fmla="*/ 1683776 w 5794893"/>
              <a:gd name="connsiteY2267" fmla="*/ 5605674 h 6858000"/>
              <a:gd name="connsiteX2268" fmla="*/ 1595286 w 5794893"/>
              <a:gd name="connsiteY2268" fmla="*/ 5542992 h 6858000"/>
              <a:gd name="connsiteX2269" fmla="*/ 1559643 w 5794893"/>
              <a:gd name="connsiteY2269" fmla="*/ 5606902 h 6858000"/>
              <a:gd name="connsiteX2270" fmla="*/ 1685005 w 5794893"/>
              <a:gd name="connsiteY2270" fmla="*/ 5695392 h 6858000"/>
              <a:gd name="connsiteX2271" fmla="*/ 1718189 w 5794893"/>
              <a:gd name="connsiteY2271" fmla="*/ 5635170 h 6858000"/>
              <a:gd name="connsiteX2272" fmla="*/ 1815282 w 5794893"/>
              <a:gd name="connsiteY2272" fmla="*/ 5695392 h 6858000"/>
              <a:gd name="connsiteX2273" fmla="*/ 1842321 w 5794893"/>
              <a:gd name="connsiteY2273" fmla="*/ 5640085 h 6858000"/>
              <a:gd name="connsiteX2274" fmla="*/ 1945560 w 5794893"/>
              <a:gd name="connsiteY2274" fmla="*/ 5695392 h 6858000"/>
              <a:gd name="connsiteX2275" fmla="*/ 1967682 w 5794893"/>
              <a:gd name="connsiteY2275" fmla="*/ 5643773 h 6858000"/>
              <a:gd name="connsiteX2276" fmla="*/ 2075837 w 5794893"/>
              <a:gd name="connsiteY2276" fmla="*/ 5695392 h 6858000"/>
              <a:gd name="connsiteX2277" fmla="*/ 2093044 w 5794893"/>
              <a:gd name="connsiteY2277" fmla="*/ 5648689 h 6858000"/>
              <a:gd name="connsiteX2278" fmla="*/ 2204887 w 5794893"/>
              <a:gd name="connsiteY2278" fmla="*/ 5695392 h 6858000"/>
              <a:gd name="connsiteX2279" fmla="*/ 2218405 w 5794893"/>
              <a:gd name="connsiteY2279" fmla="*/ 5652376 h 6858000"/>
              <a:gd name="connsiteX2280" fmla="*/ 2333934 w 5794893"/>
              <a:gd name="connsiteY2280" fmla="*/ 5695392 h 6858000"/>
              <a:gd name="connsiteX2281" fmla="*/ 2344996 w 5794893"/>
              <a:gd name="connsiteY2281" fmla="*/ 5657292 h 6858000"/>
              <a:gd name="connsiteX2282" fmla="*/ 2464212 w 5794893"/>
              <a:gd name="connsiteY2282" fmla="*/ 5695392 h 6858000"/>
              <a:gd name="connsiteX2283" fmla="*/ 2472816 w 5794893"/>
              <a:gd name="connsiteY2283" fmla="*/ 5660980 h 6858000"/>
              <a:gd name="connsiteX2284" fmla="*/ 2593261 w 5794893"/>
              <a:gd name="connsiteY2284" fmla="*/ 5695392 h 6858000"/>
              <a:gd name="connsiteX2285" fmla="*/ 2598177 w 5794893"/>
              <a:gd name="connsiteY2285" fmla="*/ 5667125 h 6858000"/>
              <a:gd name="connsiteX2286" fmla="*/ 2721081 w 5794893"/>
              <a:gd name="connsiteY2286" fmla="*/ 5696622 h 6858000"/>
              <a:gd name="connsiteX2287" fmla="*/ 2725997 w 5794893"/>
              <a:gd name="connsiteY2287" fmla="*/ 5670812 h 6858000"/>
              <a:gd name="connsiteX2288" fmla="*/ 2851358 w 5794893"/>
              <a:gd name="connsiteY2288" fmla="*/ 5696622 h 6858000"/>
              <a:gd name="connsiteX2289" fmla="*/ 2855045 w 5794893"/>
              <a:gd name="connsiteY2289" fmla="*/ 5674498 h 6858000"/>
              <a:gd name="connsiteX2290" fmla="*/ 2981636 w 5794893"/>
              <a:gd name="connsiteY2290" fmla="*/ 5696622 h 6858000"/>
              <a:gd name="connsiteX2291" fmla="*/ 2984094 w 5794893"/>
              <a:gd name="connsiteY2291" fmla="*/ 5678186 h 6858000"/>
              <a:gd name="connsiteX2292" fmla="*/ 3110684 w 5794893"/>
              <a:gd name="connsiteY2292" fmla="*/ 5696622 h 6858000"/>
              <a:gd name="connsiteX2293" fmla="*/ 3113142 w 5794893"/>
              <a:gd name="connsiteY2293" fmla="*/ 5680644 h 6858000"/>
              <a:gd name="connsiteX2294" fmla="*/ 3240961 w 5794893"/>
              <a:gd name="connsiteY2294" fmla="*/ 5696622 h 6858000"/>
              <a:gd name="connsiteX2295" fmla="*/ 3242191 w 5794893"/>
              <a:gd name="connsiteY2295" fmla="*/ 5684332 h 6858000"/>
              <a:gd name="connsiteX2296" fmla="*/ 3371239 w 5794893"/>
              <a:gd name="connsiteY2296" fmla="*/ 5696622 h 6858000"/>
              <a:gd name="connsiteX2297" fmla="*/ 3372468 w 5794893"/>
              <a:gd name="connsiteY2297" fmla="*/ 5686789 h 6858000"/>
              <a:gd name="connsiteX2298" fmla="*/ 3501516 w 5794893"/>
              <a:gd name="connsiteY2298" fmla="*/ 5696622 h 6858000"/>
              <a:gd name="connsiteX2299" fmla="*/ 3501516 w 5794893"/>
              <a:gd name="connsiteY2299" fmla="*/ 5689247 h 6858000"/>
              <a:gd name="connsiteX2300" fmla="*/ 3630565 w 5794893"/>
              <a:gd name="connsiteY2300" fmla="*/ 5696622 h 6858000"/>
              <a:gd name="connsiteX2301" fmla="*/ 3630565 w 5794893"/>
              <a:gd name="connsiteY2301" fmla="*/ 5691706 h 6858000"/>
              <a:gd name="connsiteX2302" fmla="*/ 3639168 w 5794893"/>
              <a:gd name="connsiteY2302" fmla="*/ 5691706 h 6858000"/>
              <a:gd name="connsiteX2303" fmla="*/ 3719056 w 5794893"/>
              <a:gd name="connsiteY2303" fmla="*/ 5694163 h 6858000"/>
              <a:gd name="connsiteX2304" fmla="*/ 3719056 w 5794893"/>
              <a:gd name="connsiteY2304" fmla="*/ 5695392 h 6858000"/>
              <a:gd name="connsiteX2305" fmla="*/ 5581043 w 5794893"/>
              <a:gd name="connsiteY2305" fmla="*/ 5739638 h 6858000"/>
              <a:gd name="connsiteX2306" fmla="*/ 3715368 w 5794893"/>
              <a:gd name="connsiteY2306" fmla="*/ 5739638 h 6858000"/>
              <a:gd name="connsiteX2307" fmla="*/ 3715368 w 5794893"/>
              <a:gd name="connsiteY2307" fmla="*/ 5742096 h 6858000"/>
              <a:gd name="connsiteX2308" fmla="*/ 3597381 w 5794893"/>
              <a:gd name="connsiteY2308" fmla="*/ 5739638 h 6858000"/>
              <a:gd name="connsiteX2309" fmla="*/ 3597381 w 5794893"/>
              <a:gd name="connsiteY2309" fmla="*/ 5743324 h 6858000"/>
              <a:gd name="connsiteX2310" fmla="*/ 3479394 w 5794893"/>
              <a:gd name="connsiteY2310" fmla="*/ 5739638 h 6858000"/>
              <a:gd name="connsiteX2311" fmla="*/ 3479394 w 5794893"/>
              <a:gd name="connsiteY2311" fmla="*/ 5745784 h 6858000"/>
              <a:gd name="connsiteX2312" fmla="*/ 3361406 w 5794893"/>
              <a:gd name="connsiteY2312" fmla="*/ 5739638 h 6858000"/>
              <a:gd name="connsiteX2313" fmla="*/ 3361406 w 5794893"/>
              <a:gd name="connsiteY2313" fmla="*/ 5748240 h 6858000"/>
              <a:gd name="connsiteX2314" fmla="*/ 3243419 w 5794893"/>
              <a:gd name="connsiteY2314" fmla="*/ 5739638 h 6858000"/>
              <a:gd name="connsiteX2315" fmla="*/ 3243419 w 5794893"/>
              <a:gd name="connsiteY2315" fmla="*/ 5750698 h 6858000"/>
              <a:gd name="connsiteX2316" fmla="*/ 3125432 w 5794893"/>
              <a:gd name="connsiteY2316" fmla="*/ 5739638 h 6858000"/>
              <a:gd name="connsiteX2317" fmla="*/ 3124204 w 5794893"/>
              <a:gd name="connsiteY2317" fmla="*/ 5754386 h 6858000"/>
              <a:gd name="connsiteX2318" fmla="*/ 3006216 w 5794893"/>
              <a:gd name="connsiteY2318" fmla="*/ 5739638 h 6858000"/>
              <a:gd name="connsiteX2319" fmla="*/ 3004987 w 5794893"/>
              <a:gd name="connsiteY2319" fmla="*/ 5756844 h 6858000"/>
              <a:gd name="connsiteX2320" fmla="*/ 2888229 w 5794893"/>
              <a:gd name="connsiteY2320" fmla="*/ 5739638 h 6858000"/>
              <a:gd name="connsiteX2321" fmla="*/ 2885771 w 5794893"/>
              <a:gd name="connsiteY2321" fmla="*/ 5760531 h 6858000"/>
              <a:gd name="connsiteX2322" fmla="*/ 2770242 w 5794893"/>
              <a:gd name="connsiteY2322" fmla="*/ 5739638 h 6858000"/>
              <a:gd name="connsiteX2323" fmla="*/ 2766554 w 5794893"/>
              <a:gd name="connsiteY2323" fmla="*/ 5762989 h 6858000"/>
              <a:gd name="connsiteX2324" fmla="*/ 2652255 w 5794893"/>
              <a:gd name="connsiteY2324" fmla="*/ 5739638 h 6858000"/>
              <a:gd name="connsiteX2325" fmla="*/ 2647339 w 5794893"/>
              <a:gd name="connsiteY2325" fmla="*/ 5766676 h 6858000"/>
              <a:gd name="connsiteX2326" fmla="*/ 2534268 w 5794893"/>
              <a:gd name="connsiteY2326" fmla="*/ 5739638 h 6858000"/>
              <a:gd name="connsiteX2327" fmla="*/ 2528122 w 5794893"/>
              <a:gd name="connsiteY2327" fmla="*/ 5770364 h 6858000"/>
              <a:gd name="connsiteX2328" fmla="*/ 2416280 w 5794893"/>
              <a:gd name="connsiteY2328" fmla="*/ 5739638 h 6858000"/>
              <a:gd name="connsiteX2329" fmla="*/ 2408906 w 5794893"/>
              <a:gd name="connsiteY2329" fmla="*/ 5775279 h 6858000"/>
              <a:gd name="connsiteX2330" fmla="*/ 2298293 w 5794893"/>
              <a:gd name="connsiteY2330" fmla="*/ 5739638 h 6858000"/>
              <a:gd name="connsiteX2331" fmla="*/ 2288461 w 5794893"/>
              <a:gd name="connsiteY2331" fmla="*/ 5778967 h 6858000"/>
              <a:gd name="connsiteX2332" fmla="*/ 2180306 w 5794893"/>
              <a:gd name="connsiteY2332" fmla="*/ 5739638 h 6858000"/>
              <a:gd name="connsiteX2333" fmla="*/ 2168015 w 5794893"/>
              <a:gd name="connsiteY2333" fmla="*/ 5783883 h 6858000"/>
              <a:gd name="connsiteX2334" fmla="*/ 2062319 w 5794893"/>
              <a:gd name="connsiteY2334" fmla="*/ 5739638 h 6858000"/>
              <a:gd name="connsiteX2335" fmla="*/ 2046340 w 5794893"/>
              <a:gd name="connsiteY2335" fmla="*/ 5788799 h 6858000"/>
              <a:gd name="connsiteX2336" fmla="*/ 1944331 w 5794893"/>
              <a:gd name="connsiteY2336" fmla="*/ 5739638 h 6858000"/>
              <a:gd name="connsiteX2337" fmla="*/ 1924667 w 5794893"/>
              <a:gd name="connsiteY2337" fmla="*/ 5792485 h 6858000"/>
              <a:gd name="connsiteX2338" fmla="*/ 1826344 w 5794893"/>
              <a:gd name="connsiteY2338" fmla="*/ 5739638 h 6858000"/>
              <a:gd name="connsiteX2339" fmla="*/ 1801763 w 5794893"/>
              <a:gd name="connsiteY2339" fmla="*/ 5797402 h 6858000"/>
              <a:gd name="connsiteX2340" fmla="*/ 1708357 w 5794893"/>
              <a:gd name="connsiteY2340" fmla="*/ 5739638 h 6858000"/>
              <a:gd name="connsiteX2341" fmla="*/ 1678860 w 5794893"/>
              <a:gd name="connsiteY2341" fmla="*/ 5801089 h 6858000"/>
              <a:gd name="connsiteX2342" fmla="*/ 1590370 w 5794893"/>
              <a:gd name="connsiteY2342" fmla="*/ 5739638 h 6858000"/>
              <a:gd name="connsiteX2343" fmla="*/ 1557002 w 5794893"/>
              <a:gd name="connsiteY2343" fmla="*/ 5799468 h 6858000"/>
              <a:gd name="connsiteX2344" fmla="*/ 1476069 w 5794893"/>
              <a:gd name="connsiteY2344" fmla="*/ 5734722 h 6858000"/>
              <a:gd name="connsiteX2345" fmla="*/ 1439198 w 5794893"/>
              <a:gd name="connsiteY2345" fmla="*/ 5793715 h 6858000"/>
              <a:gd name="connsiteX2346" fmla="*/ 1555957 w 5794893"/>
              <a:gd name="connsiteY2346" fmla="*/ 5887122 h 6858000"/>
              <a:gd name="connsiteX2347" fmla="*/ 1591935 w 5794893"/>
              <a:gd name="connsiteY2347" fmla="*/ 5829557 h 6858000"/>
              <a:gd name="connsiteX2348" fmla="*/ 1681318 w 5794893"/>
              <a:gd name="connsiteY2348" fmla="*/ 5892038 h 6858000"/>
              <a:gd name="connsiteX2349" fmla="*/ 1714501 w 5794893"/>
              <a:gd name="connsiteY2349" fmla="*/ 5831816 h 6858000"/>
              <a:gd name="connsiteX2350" fmla="*/ 1811596 w 5794893"/>
              <a:gd name="connsiteY2350" fmla="*/ 5892038 h 6858000"/>
              <a:gd name="connsiteX2351" fmla="*/ 1838634 w 5794893"/>
              <a:gd name="connsiteY2351" fmla="*/ 5836731 h 6858000"/>
              <a:gd name="connsiteX2352" fmla="*/ 1941873 w 5794893"/>
              <a:gd name="connsiteY2352" fmla="*/ 5892038 h 6858000"/>
              <a:gd name="connsiteX2353" fmla="*/ 1963996 w 5794893"/>
              <a:gd name="connsiteY2353" fmla="*/ 5840418 h 6858000"/>
              <a:gd name="connsiteX2354" fmla="*/ 2072151 w 5794893"/>
              <a:gd name="connsiteY2354" fmla="*/ 5892038 h 6858000"/>
              <a:gd name="connsiteX2355" fmla="*/ 2089357 w 5794893"/>
              <a:gd name="connsiteY2355" fmla="*/ 5845335 h 6858000"/>
              <a:gd name="connsiteX2356" fmla="*/ 2201199 w 5794893"/>
              <a:gd name="connsiteY2356" fmla="*/ 5892038 h 6858000"/>
              <a:gd name="connsiteX2357" fmla="*/ 2214719 w 5794893"/>
              <a:gd name="connsiteY2357" fmla="*/ 5849021 h 6858000"/>
              <a:gd name="connsiteX2358" fmla="*/ 2330248 w 5794893"/>
              <a:gd name="connsiteY2358" fmla="*/ 5892038 h 6858000"/>
              <a:gd name="connsiteX2359" fmla="*/ 2341309 w 5794893"/>
              <a:gd name="connsiteY2359" fmla="*/ 5853937 h 6858000"/>
              <a:gd name="connsiteX2360" fmla="*/ 2460525 w 5794893"/>
              <a:gd name="connsiteY2360" fmla="*/ 5892038 h 6858000"/>
              <a:gd name="connsiteX2361" fmla="*/ 2469128 w 5794893"/>
              <a:gd name="connsiteY2361" fmla="*/ 5857625 h 6858000"/>
              <a:gd name="connsiteX2362" fmla="*/ 2590803 w 5794893"/>
              <a:gd name="connsiteY2362" fmla="*/ 5892038 h 6858000"/>
              <a:gd name="connsiteX2363" fmla="*/ 2596948 w 5794893"/>
              <a:gd name="connsiteY2363" fmla="*/ 5862541 h 6858000"/>
              <a:gd name="connsiteX2364" fmla="*/ 2719851 w 5794893"/>
              <a:gd name="connsiteY2364" fmla="*/ 5892038 h 6858000"/>
              <a:gd name="connsiteX2365" fmla="*/ 2724767 w 5794893"/>
              <a:gd name="connsiteY2365" fmla="*/ 5866228 h 6858000"/>
              <a:gd name="connsiteX2366" fmla="*/ 2850129 w 5794893"/>
              <a:gd name="connsiteY2366" fmla="*/ 5892038 h 6858000"/>
              <a:gd name="connsiteX2367" fmla="*/ 2853816 w 5794893"/>
              <a:gd name="connsiteY2367" fmla="*/ 5869915 h 6858000"/>
              <a:gd name="connsiteX2368" fmla="*/ 2980406 w 5794893"/>
              <a:gd name="connsiteY2368" fmla="*/ 5892038 h 6858000"/>
              <a:gd name="connsiteX2369" fmla="*/ 2982864 w 5794893"/>
              <a:gd name="connsiteY2369" fmla="*/ 5873602 h 6858000"/>
              <a:gd name="connsiteX2370" fmla="*/ 3109455 w 5794893"/>
              <a:gd name="connsiteY2370" fmla="*/ 5892038 h 6858000"/>
              <a:gd name="connsiteX2371" fmla="*/ 3110684 w 5794893"/>
              <a:gd name="connsiteY2371" fmla="*/ 5876061 h 6858000"/>
              <a:gd name="connsiteX2372" fmla="*/ 3238503 w 5794893"/>
              <a:gd name="connsiteY2372" fmla="*/ 5892038 h 6858000"/>
              <a:gd name="connsiteX2373" fmla="*/ 3239733 w 5794893"/>
              <a:gd name="connsiteY2373" fmla="*/ 5879748 h 6858000"/>
              <a:gd name="connsiteX2374" fmla="*/ 3368781 w 5794893"/>
              <a:gd name="connsiteY2374" fmla="*/ 5892038 h 6858000"/>
              <a:gd name="connsiteX2375" fmla="*/ 3370010 w 5794893"/>
              <a:gd name="connsiteY2375" fmla="*/ 5882206 h 6858000"/>
              <a:gd name="connsiteX2376" fmla="*/ 3499058 w 5794893"/>
              <a:gd name="connsiteY2376" fmla="*/ 5892038 h 6858000"/>
              <a:gd name="connsiteX2377" fmla="*/ 3499058 w 5794893"/>
              <a:gd name="connsiteY2377" fmla="*/ 5884664 h 6858000"/>
              <a:gd name="connsiteX2378" fmla="*/ 3628107 w 5794893"/>
              <a:gd name="connsiteY2378" fmla="*/ 5892038 h 6858000"/>
              <a:gd name="connsiteX2379" fmla="*/ 3628107 w 5794893"/>
              <a:gd name="connsiteY2379" fmla="*/ 5887122 h 6858000"/>
              <a:gd name="connsiteX2380" fmla="*/ 3636710 w 5794893"/>
              <a:gd name="connsiteY2380" fmla="*/ 5887122 h 6858000"/>
              <a:gd name="connsiteX2381" fmla="*/ 3716598 w 5794893"/>
              <a:gd name="connsiteY2381" fmla="*/ 5889580 h 6858000"/>
              <a:gd name="connsiteX2382" fmla="*/ 3716598 w 5794893"/>
              <a:gd name="connsiteY2382" fmla="*/ 5890808 h 6858000"/>
              <a:gd name="connsiteX2383" fmla="*/ 5568752 w 5794893"/>
              <a:gd name="connsiteY2383" fmla="*/ 5928909 h 6858000"/>
              <a:gd name="connsiteX2384" fmla="*/ 3716598 w 5794893"/>
              <a:gd name="connsiteY2384" fmla="*/ 5928909 h 6858000"/>
              <a:gd name="connsiteX2385" fmla="*/ 3717826 w 5794893"/>
              <a:gd name="connsiteY2385" fmla="*/ 5931367 h 6858000"/>
              <a:gd name="connsiteX2386" fmla="*/ 3599839 w 5794893"/>
              <a:gd name="connsiteY2386" fmla="*/ 5928909 h 6858000"/>
              <a:gd name="connsiteX2387" fmla="*/ 3599839 w 5794893"/>
              <a:gd name="connsiteY2387" fmla="*/ 5932595 h 6858000"/>
              <a:gd name="connsiteX2388" fmla="*/ 3481852 w 5794893"/>
              <a:gd name="connsiteY2388" fmla="*/ 5928909 h 6858000"/>
              <a:gd name="connsiteX2389" fmla="*/ 3481852 w 5794893"/>
              <a:gd name="connsiteY2389" fmla="*/ 5935053 h 6858000"/>
              <a:gd name="connsiteX2390" fmla="*/ 3363865 w 5794893"/>
              <a:gd name="connsiteY2390" fmla="*/ 5928909 h 6858000"/>
              <a:gd name="connsiteX2391" fmla="*/ 3363865 w 5794893"/>
              <a:gd name="connsiteY2391" fmla="*/ 5937513 h 6858000"/>
              <a:gd name="connsiteX2392" fmla="*/ 3245877 w 5794893"/>
              <a:gd name="connsiteY2392" fmla="*/ 5928909 h 6858000"/>
              <a:gd name="connsiteX2393" fmla="*/ 3245877 w 5794893"/>
              <a:gd name="connsiteY2393" fmla="*/ 5939970 h 6858000"/>
              <a:gd name="connsiteX2394" fmla="*/ 3127890 w 5794893"/>
              <a:gd name="connsiteY2394" fmla="*/ 5928909 h 6858000"/>
              <a:gd name="connsiteX2395" fmla="*/ 3126662 w 5794893"/>
              <a:gd name="connsiteY2395" fmla="*/ 5943657 h 6858000"/>
              <a:gd name="connsiteX2396" fmla="*/ 3008674 w 5794893"/>
              <a:gd name="connsiteY2396" fmla="*/ 5928909 h 6858000"/>
              <a:gd name="connsiteX2397" fmla="*/ 3007445 w 5794893"/>
              <a:gd name="connsiteY2397" fmla="*/ 5946115 h 6858000"/>
              <a:gd name="connsiteX2398" fmla="*/ 2890687 w 5794893"/>
              <a:gd name="connsiteY2398" fmla="*/ 5928909 h 6858000"/>
              <a:gd name="connsiteX2399" fmla="*/ 2888229 w 5794893"/>
              <a:gd name="connsiteY2399" fmla="*/ 5949803 h 6858000"/>
              <a:gd name="connsiteX2400" fmla="*/ 2772700 w 5794893"/>
              <a:gd name="connsiteY2400" fmla="*/ 5928909 h 6858000"/>
              <a:gd name="connsiteX2401" fmla="*/ 2769012 w 5794893"/>
              <a:gd name="connsiteY2401" fmla="*/ 5953490 h 6858000"/>
              <a:gd name="connsiteX2402" fmla="*/ 2654713 w 5794893"/>
              <a:gd name="connsiteY2402" fmla="*/ 5928909 h 6858000"/>
              <a:gd name="connsiteX2403" fmla="*/ 2649797 w 5794893"/>
              <a:gd name="connsiteY2403" fmla="*/ 5955948 h 6858000"/>
              <a:gd name="connsiteX2404" fmla="*/ 2536726 w 5794893"/>
              <a:gd name="connsiteY2404" fmla="*/ 5928909 h 6858000"/>
              <a:gd name="connsiteX2405" fmla="*/ 2530580 w 5794893"/>
              <a:gd name="connsiteY2405" fmla="*/ 5960864 h 6858000"/>
              <a:gd name="connsiteX2406" fmla="*/ 2418738 w 5794893"/>
              <a:gd name="connsiteY2406" fmla="*/ 5928909 h 6858000"/>
              <a:gd name="connsiteX2407" fmla="*/ 2411364 w 5794893"/>
              <a:gd name="connsiteY2407" fmla="*/ 5964550 h 6858000"/>
              <a:gd name="connsiteX2408" fmla="*/ 2300751 w 5794893"/>
              <a:gd name="connsiteY2408" fmla="*/ 5928909 h 6858000"/>
              <a:gd name="connsiteX2409" fmla="*/ 2290919 w 5794893"/>
              <a:gd name="connsiteY2409" fmla="*/ 5968238 h 6858000"/>
              <a:gd name="connsiteX2410" fmla="*/ 2182764 w 5794893"/>
              <a:gd name="connsiteY2410" fmla="*/ 5928909 h 6858000"/>
              <a:gd name="connsiteX2411" fmla="*/ 2170474 w 5794893"/>
              <a:gd name="connsiteY2411" fmla="*/ 5973154 h 6858000"/>
              <a:gd name="connsiteX2412" fmla="*/ 2064777 w 5794893"/>
              <a:gd name="connsiteY2412" fmla="*/ 5928909 h 6858000"/>
              <a:gd name="connsiteX2413" fmla="*/ 2048799 w 5794893"/>
              <a:gd name="connsiteY2413" fmla="*/ 5978070 h 6858000"/>
              <a:gd name="connsiteX2414" fmla="*/ 1946789 w 5794893"/>
              <a:gd name="connsiteY2414" fmla="*/ 5928909 h 6858000"/>
              <a:gd name="connsiteX2415" fmla="*/ 1927125 w 5794893"/>
              <a:gd name="connsiteY2415" fmla="*/ 5981757 h 6858000"/>
              <a:gd name="connsiteX2416" fmla="*/ 1828802 w 5794893"/>
              <a:gd name="connsiteY2416" fmla="*/ 5928909 h 6858000"/>
              <a:gd name="connsiteX2417" fmla="*/ 1804221 w 5794893"/>
              <a:gd name="connsiteY2417" fmla="*/ 5986674 h 6858000"/>
              <a:gd name="connsiteX2418" fmla="*/ 1710815 w 5794893"/>
              <a:gd name="connsiteY2418" fmla="*/ 5928909 h 6858000"/>
              <a:gd name="connsiteX2419" fmla="*/ 1681318 w 5794893"/>
              <a:gd name="connsiteY2419" fmla="*/ 5991590 h 6858000"/>
              <a:gd name="connsiteX2420" fmla="*/ 1592828 w 5794893"/>
              <a:gd name="connsiteY2420" fmla="*/ 5928909 h 6858000"/>
              <a:gd name="connsiteX2421" fmla="*/ 1557754 w 5794893"/>
              <a:gd name="connsiteY2421" fmla="*/ 5991799 h 6858000"/>
              <a:gd name="connsiteX2422" fmla="*/ 1476069 w 5794893"/>
              <a:gd name="connsiteY2422" fmla="*/ 5926451 h 6858000"/>
              <a:gd name="connsiteX2423" fmla="*/ 1439198 w 5794893"/>
              <a:gd name="connsiteY2423" fmla="*/ 5985444 h 6858000"/>
              <a:gd name="connsiteX2424" fmla="*/ 1555957 w 5794893"/>
              <a:gd name="connsiteY2424" fmla="*/ 6078851 h 6858000"/>
              <a:gd name="connsiteX2425" fmla="*/ 1592828 w 5794893"/>
              <a:gd name="connsiteY2425" fmla="*/ 6019857 h 6858000"/>
              <a:gd name="connsiteX2426" fmla="*/ 1571804 w 5794893"/>
              <a:gd name="connsiteY2426" fmla="*/ 6003038 h 6858000"/>
              <a:gd name="connsiteX2427" fmla="*/ 1683776 w 5794893"/>
              <a:gd name="connsiteY2427" fmla="*/ 6081309 h 6858000"/>
              <a:gd name="connsiteX2428" fmla="*/ 1716959 w 5794893"/>
              <a:gd name="connsiteY2428" fmla="*/ 6021086 h 6858000"/>
              <a:gd name="connsiteX2429" fmla="*/ 1814054 w 5794893"/>
              <a:gd name="connsiteY2429" fmla="*/ 6081309 h 6858000"/>
              <a:gd name="connsiteX2430" fmla="*/ 1841092 w 5794893"/>
              <a:gd name="connsiteY2430" fmla="*/ 6026002 h 6858000"/>
              <a:gd name="connsiteX2431" fmla="*/ 1944331 w 5794893"/>
              <a:gd name="connsiteY2431" fmla="*/ 6081309 h 6858000"/>
              <a:gd name="connsiteX2432" fmla="*/ 1966454 w 5794893"/>
              <a:gd name="connsiteY2432" fmla="*/ 6029690 h 6858000"/>
              <a:gd name="connsiteX2433" fmla="*/ 2074609 w 5794893"/>
              <a:gd name="connsiteY2433" fmla="*/ 6081309 h 6858000"/>
              <a:gd name="connsiteX2434" fmla="*/ 2091815 w 5794893"/>
              <a:gd name="connsiteY2434" fmla="*/ 6034606 h 6858000"/>
              <a:gd name="connsiteX2435" fmla="*/ 2203657 w 5794893"/>
              <a:gd name="connsiteY2435" fmla="*/ 6081309 h 6858000"/>
              <a:gd name="connsiteX2436" fmla="*/ 2217177 w 5794893"/>
              <a:gd name="connsiteY2436" fmla="*/ 6038292 h 6858000"/>
              <a:gd name="connsiteX2437" fmla="*/ 2332706 w 5794893"/>
              <a:gd name="connsiteY2437" fmla="*/ 6081309 h 6858000"/>
              <a:gd name="connsiteX2438" fmla="*/ 2343767 w 5794893"/>
              <a:gd name="connsiteY2438" fmla="*/ 6043208 h 6858000"/>
              <a:gd name="connsiteX2439" fmla="*/ 2462984 w 5794893"/>
              <a:gd name="connsiteY2439" fmla="*/ 6081309 h 6858000"/>
              <a:gd name="connsiteX2440" fmla="*/ 2471586 w 5794893"/>
              <a:gd name="connsiteY2440" fmla="*/ 6046896 h 6858000"/>
              <a:gd name="connsiteX2441" fmla="*/ 2593261 w 5794893"/>
              <a:gd name="connsiteY2441" fmla="*/ 6081309 h 6858000"/>
              <a:gd name="connsiteX2442" fmla="*/ 2599406 w 5794893"/>
              <a:gd name="connsiteY2442" fmla="*/ 6051812 h 6858000"/>
              <a:gd name="connsiteX2443" fmla="*/ 2722309 w 5794893"/>
              <a:gd name="connsiteY2443" fmla="*/ 6081309 h 6858000"/>
              <a:gd name="connsiteX2444" fmla="*/ 2727225 w 5794893"/>
              <a:gd name="connsiteY2444" fmla="*/ 6055499 h 6858000"/>
              <a:gd name="connsiteX2445" fmla="*/ 2851358 w 5794893"/>
              <a:gd name="connsiteY2445" fmla="*/ 6081309 h 6858000"/>
              <a:gd name="connsiteX2446" fmla="*/ 2855045 w 5794893"/>
              <a:gd name="connsiteY2446" fmla="*/ 6059186 h 6858000"/>
              <a:gd name="connsiteX2447" fmla="*/ 2981636 w 5794893"/>
              <a:gd name="connsiteY2447" fmla="*/ 6081309 h 6858000"/>
              <a:gd name="connsiteX2448" fmla="*/ 2984094 w 5794893"/>
              <a:gd name="connsiteY2448" fmla="*/ 6062873 h 6858000"/>
              <a:gd name="connsiteX2449" fmla="*/ 3110684 w 5794893"/>
              <a:gd name="connsiteY2449" fmla="*/ 6081309 h 6858000"/>
              <a:gd name="connsiteX2450" fmla="*/ 3111913 w 5794893"/>
              <a:gd name="connsiteY2450" fmla="*/ 6065332 h 6858000"/>
              <a:gd name="connsiteX2451" fmla="*/ 3239733 w 5794893"/>
              <a:gd name="connsiteY2451" fmla="*/ 6081309 h 6858000"/>
              <a:gd name="connsiteX2452" fmla="*/ 3240961 w 5794893"/>
              <a:gd name="connsiteY2452" fmla="*/ 6069019 h 6858000"/>
              <a:gd name="connsiteX2453" fmla="*/ 3370010 w 5794893"/>
              <a:gd name="connsiteY2453" fmla="*/ 6081309 h 6858000"/>
              <a:gd name="connsiteX2454" fmla="*/ 3371239 w 5794893"/>
              <a:gd name="connsiteY2454" fmla="*/ 6071477 h 6858000"/>
              <a:gd name="connsiteX2455" fmla="*/ 3500288 w 5794893"/>
              <a:gd name="connsiteY2455" fmla="*/ 6081309 h 6858000"/>
              <a:gd name="connsiteX2456" fmla="*/ 3500288 w 5794893"/>
              <a:gd name="connsiteY2456" fmla="*/ 6073935 h 6858000"/>
              <a:gd name="connsiteX2457" fmla="*/ 3629336 w 5794893"/>
              <a:gd name="connsiteY2457" fmla="*/ 6081309 h 6858000"/>
              <a:gd name="connsiteX2458" fmla="*/ 3629336 w 5794893"/>
              <a:gd name="connsiteY2458" fmla="*/ 6076393 h 6858000"/>
              <a:gd name="connsiteX2459" fmla="*/ 3637940 w 5794893"/>
              <a:gd name="connsiteY2459" fmla="*/ 6076393 h 6858000"/>
              <a:gd name="connsiteX2460" fmla="*/ 3717826 w 5794893"/>
              <a:gd name="connsiteY2460" fmla="*/ 6078851 h 6858000"/>
              <a:gd name="connsiteX2461" fmla="*/ 3717826 w 5794893"/>
              <a:gd name="connsiteY2461" fmla="*/ 6080079 h 6858000"/>
              <a:gd name="connsiteX2462" fmla="*/ 5534338 w 5794893"/>
              <a:gd name="connsiteY2462" fmla="*/ 6118180 h 6858000"/>
              <a:gd name="connsiteX2463" fmla="*/ 3719056 w 5794893"/>
              <a:gd name="connsiteY2463" fmla="*/ 6118180 h 6858000"/>
              <a:gd name="connsiteX2464" fmla="*/ 3719056 w 5794893"/>
              <a:gd name="connsiteY2464" fmla="*/ 6119408 h 6858000"/>
              <a:gd name="connsiteX2465" fmla="*/ 3601069 w 5794893"/>
              <a:gd name="connsiteY2465" fmla="*/ 6116950 h 6858000"/>
              <a:gd name="connsiteX2466" fmla="*/ 3601069 w 5794893"/>
              <a:gd name="connsiteY2466" fmla="*/ 6120638 h 6858000"/>
              <a:gd name="connsiteX2467" fmla="*/ 3483081 w 5794893"/>
              <a:gd name="connsiteY2467" fmla="*/ 6116950 h 6858000"/>
              <a:gd name="connsiteX2468" fmla="*/ 3483081 w 5794893"/>
              <a:gd name="connsiteY2468" fmla="*/ 6123096 h 6858000"/>
              <a:gd name="connsiteX2469" fmla="*/ 3365094 w 5794893"/>
              <a:gd name="connsiteY2469" fmla="*/ 6116950 h 6858000"/>
              <a:gd name="connsiteX2470" fmla="*/ 3365094 w 5794893"/>
              <a:gd name="connsiteY2470" fmla="*/ 6125554 h 6858000"/>
              <a:gd name="connsiteX2471" fmla="*/ 3247107 w 5794893"/>
              <a:gd name="connsiteY2471" fmla="*/ 6116950 h 6858000"/>
              <a:gd name="connsiteX2472" fmla="*/ 3247107 w 5794893"/>
              <a:gd name="connsiteY2472" fmla="*/ 6128012 h 6858000"/>
              <a:gd name="connsiteX2473" fmla="*/ 3129120 w 5794893"/>
              <a:gd name="connsiteY2473" fmla="*/ 6116950 h 6858000"/>
              <a:gd name="connsiteX2474" fmla="*/ 3127890 w 5794893"/>
              <a:gd name="connsiteY2474" fmla="*/ 6131699 h 6858000"/>
              <a:gd name="connsiteX2475" fmla="*/ 3009903 w 5794893"/>
              <a:gd name="connsiteY2475" fmla="*/ 6116950 h 6858000"/>
              <a:gd name="connsiteX2476" fmla="*/ 3008674 w 5794893"/>
              <a:gd name="connsiteY2476" fmla="*/ 6134158 h 6858000"/>
              <a:gd name="connsiteX2477" fmla="*/ 2891916 w 5794893"/>
              <a:gd name="connsiteY2477" fmla="*/ 6116950 h 6858000"/>
              <a:gd name="connsiteX2478" fmla="*/ 2889458 w 5794893"/>
              <a:gd name="connsiteY2478" fmla="*/ 6137845 h 6858000"/>
              <a:gd name="connsiteX2479" fmla="*/ 2773928 w 5794893"/>
              <a:gd name="connsiteY2479" fmla="*/ 6116950 h 6858000"/>
              <a:gd name="connsiteX2480" fmla="*/ 2770242 w 5794893"/>
              <a:gd name="connsiteY2480" fmla="*/ 6140303 h 6858000"/>
              <a:gd name="connsiteX2481" fmla="*/ 2655941 w 5794893"/>
              <a:gd name="connsiteY2481" fmla="*/ 6116950 h 6858000"/>
              <a:gd name="connsiteX2482" fmla="*/ 2651025 w 5794893"/>
              <a:gd name="connsiteY2482" fmla="*/ 6143989 h 6858000"/>
              <a:gd name="connsiteX2483" fmla="*/ 2537954 w 5794893"/>
              <a:gd name="connsiteY2483" fmla="*/ 6116950 h 6858000"/>
              <a:gd name="connsiteX2484" fmla="*/ 2531809 w 5794893"/>
              <a:gd name="connsiteY2484" fmla="*/ 6147677 h 6858000"/>
              <a:gd name="connsiteX2485" fmla="*/ 2419967 w 5794893"/>
              <a:gd name="connsiteY2485" fmla="*/ 6116950 h 6858000"/>
              <a:gd name="connsiteX2486" fmla="*/ 2412593 w 5794893"/>
              <a:gd name="connsiteY2486" fmla="*/ 6152593 h 6858000"/>
              <a:gd name="connsiteX2487" fmla="*/ 2301980 w 5794893"/>
              <a:gd name="connsiteY2487" fmla="*/ 6116950 h 6858000"/>
              <a:gd name="connsiteX2488" fmla="*/ 2292147 w 5794893"/>
              <a:gd name="connsiteY2488" fmla="*/ 6156279 h 6858000"/>
              <a:gd name="connsiteX2489" fmla="*/ 2183992 w 5794893"/>
              <a:gd name="connsiteY2489" fmla="*/ 6116950 h 6858000"/>
              <a:gd name="connsiteX2490" fmla="*/ 2171702 w 5794893"/>
              <a:gd name="connsiteY2490" fmla="*/ 6161196 h 6858000"/>
              <a:gd name="connsiteX2491" fmla="*/ 2066005 w 5794893"/>
              <a:gd name="connsiteY2491" fmla="*/ 6116950 h 6858000"/>
              <a:gd name="connsiteX2492" fmla="*/ 2050028 w 5794893"/>
              <a:gd name="connsiteY2492" fmla="*/ 6166112 h 6858000"/>
              <a:gd name="connsiteX2493" fmla="*/ 1948018 w 5794893"/>
              <a:gd name="connsiteY2493" fmla="*/ 6116950 h 6858000"/>
              <a:gd name="connsiteX2494" fmla="*/ 1928353 w 5794893"/>
              <a:gd name="connsiteY2494" fmla="*/ 6169799 h 6858000"/>
              <a:gd name="connsiteX2495" fmla="*/ 1830031 w 5794893"/>
              <a:gd name="connsiteY2495" fmla="*/ 6116950 h 6858000"/>
              <a:gd name="connsiteX2496" fmla="*/ 1805450 w 5794893"/>
              <a:gd name="connsiteY2496" fmla="*/ 6174716 h 6858000"/>
              <a:gd name="connsiteX2497" fmla="*/ 1712043 w 5794893"/>
              <a:gd name="connsiteY2497" fmla="*/ 6116950 h 6858000"/>
              <a:gd name="connsiteX2498" fmla="*/ 1682547 w 5794893"/>
              <a:gd name="connsiteY2498" fmla="*/ 6179632 h 6858000"/>
              <a:gd name="connsiteX2499" fmla="*/ 1594056 w 5794893"/>
              <a:gd name="connsiteY2499" fmla="*/ 6118180 h 6858000"/>
              <a:gd name="connsiteX2500" fmla="*/ 1558415 w 5794893"/>
              <a:gd name="connsiteY2500" fmla="*/ 6182090 h 6858000"/>
              <a:gd name="connsiteX2501" fmla="*/ 1685005 w 5794893"/>
              <a:gd name="connsiteY2501" fmla="*/ 6270580 h 6858000"/>
              <a:gd name="connsiteX2502" fmla="*/ 1718189 w 5794893"/>
              <a:gd name="connsiteY2502" fmla="*/ 6210357 h 6858000"/>
              <a:gd name="connsiteX2503" fmla="*/ 1815282 w 5794893"/>
              <a:gd name="connsiteY2503" fmla="*/ 6270580 h 6858000"/>
              <a:gd name="connsiteX2504" fmla="*/ 1842321 w 5794893"/>
              <a:gd name="connsiteY2504" fmla="*/ 6215273 h 6858000"/>
              <a:gd name="connsiteX2505" fmla="*/ 1945560 w 5794893"/>
              <a:gd name="connsiteY2505" fmla="*/ 6270580 h 6858000"/>
              <a:gd name="connsiteX2506" fmla="*/ 1967682 w 5794893"/>
              <a:gd name="connsiteY2506" fmla="*/ 6218961 h 6858000"/>
              <a:gd name="connsiteX2507" fmla="*/ 2075837 w 5794893"/>
              <a:gd name="connsiteY2507" fmla="*/ 6270580 h 6858000"/>
              <a:gd name="connsiteX2508" fmla="*/ 2093044 w 5794893"/>
              <a:gd name="connsiteY2508" fmla="*/ 6223877 h 6858000"/>
              <a:gd name="connsiteX2509" fmla="*/ 2204887 w 5794893"/>
              <a:gd name="connsiteY2509" fmla="*/ 6270580 h 6858000"/>
              <a:gd name="connsiteX2510" fmla="*/ 2218405 w 5794893"/>
              <a:gd name="connsiteY2510" fmla="*/ 6227563 h 6858000"/>
              <a:gd name="connsiteX2511" fmla="*/ 2333934 w 5794893"/>
              <a:gd name="connsiteY2511" fmla="*/ 6270580 h 6858000"/>
              <a:gd name="connsiteX2512" fmla="*/ 2344996 w 5794893"/>
              <a:gd name="connsiteY2512" fmla="*/ 6232481 h 6858000"/>
              <a:gd name="connsiteX2513" fmla="*/ 2464212 w 5794893"/>
              <a:gd name="connsiteY2513" fmla="*/ 6270580 h 6858000"/>
              <a:gd name="connsiteX2514" fmla="*/ 2472816 w 5794893"/>
              <a:gd name="connsiteY2514" fmla="*/ 6236167 h 6858000"/>
              <a:gd name="connsiteX2515" fmla="*/ 2594490 w 5794893"/>
              <a:gd name="connsiteY2515" fmla="*/ 6270580 h 6858000"/>
              <a:gd name="connsiteX2516" fmla="*/ 2600635 w 5794893"/>
              <a:gd name="connsiteY2516" fmla="*/ 6241083 h 6858000"/>
              <a:gd name="connsiteX2517" fmla="*/ 2723539 w 5794893"/>
              <a:gd name="connsiteY2517" fmla="*/ 6270580 h 6858000"/>
              <a:gd name="connsiteX2518" fmla="*/ 2728455 w 5794893"/>
              <a:gd name="connsiteY2518" fmla="*/ 6244771 h 6858000"/>
              <a:gd name="connsiteX2519" fmla="*/ 2853816 w 5794893"/>
              <a:gd name="connsiteY2519" fmla="*/ 6270580 h 6858000"/>
              <a:gd name="connsiteX2520" fmla="*/ 2857503 w 5794893"/>
              <a:gd name="connsiteY2520" fmla="*/ 6248458 h 6858000"/>
              <a:gd name="connsiteX2521" fmla="*/ 2984094 w 5794893"/>
              <a:gd name="connsiteY2521" fmla="*/ 6270580 h 6858000"/>
              <a:gd name="connsiteX2522" fmla="*/ 2986552 w 5794893"/>
              <a:gd name="connsiteY2522" fmla="*/ 6252144 h 6858000"/>
              <a:gd name="connsiteX2523" fmla="*/ 3113142 w 5794893"/>
              <a:gd name="connsiteY2523" fmla="*/ 6270580 h 6858000"/>
              <a:gd name="connsiteX2524" fmla="*/ 3114371 w 5794893"/>
              <a:gd name="connsiteY2524" fmla="*/ 6254602 h 6858000"/>
              <a:gd name="connsiteX2525" fmla="*/ 3242191 w 5794893"/>
              <a:gd name="connsiteY2525" fmla="*/ 6270580 h 6858000"/>
              <a:gd name="connsiteX2526" fmla="*/ 3243419 w 5794893"/>
              <a:gd name="connsiteY2526" fmla="*/ 6258290 h 6858000"/>
              <a:gd name="connsiteX2527" fmla="*/ 3372468 w 5794893"/>
              <a:gd name="connsiteY2527" fmla="*/ 6270580 h 6858000"/>
              <a:gd name="connsiteX2528" fmla="*/ 3373697 w 5794893"/>
              <a:gd name="connsiteY2528" fmla="*/ 6260748 h 6858000"/>
              <a:gd name="connsiteX2529" fmla="*/ 3502746 w 5794893"/>
              <a:gd name="connsiteY2529" fmla="*/ 6270580 h 6858000"/>
              <a:gd name="connsiteX2530" fmla="*/ 3502746 w 5794893"/>
              <a:gd name="connsiteY2530" fmla="*/ 6263206 h 6858000"/>
              <a:gd name="connsiteX2531" fmla="*/ 3631794 w 5794893"/>
              <a:gd name="connsiteY2531" fmla="*/ 6270580 h 6858000"/>
              <a:gd name="connsiteX2532" fmla="*/ 3631794 w 5794893"/>
              <a:gd name="connsiteY2532" fmla="*/ 6265664 h 6858000"/>
              <a:gd name="connsiteX2533" fmla="*/ 3640398 w 5794893"/>
              <a:gd name="connsiteY2533" fmla="*/ 6265664 h 6858000"/>
              <a:gd name="connsiteX2534" fmla="*/ 3720284 w 5794893"/>
              <a:gd name="connsiteY2534" fmla="*/ 6268122 h 6858000"/>
              <a:gd name="connsiteX2535" fmla="*/ 3720284 w 5794893"/>
              <a:gd name="connsiteY2535" fmla="*/ 6269352 h 6858000"/>
              <a:gd name="connsiteX2536" fmla="*/ 5476574 w 5794893"/>
              <a:gd name="connsiteY2536" fmla="*/ 6306223 h 6858000"/>
              <a:gd name="connsiteX2537" fmla="*/ 3720284 w 5794893"/>
              <a:gd name="connsiteY2537" fmla="*/ 6306223 h 6858000"/>
              <a:gd name="connsiteX2538" fmla="*/ 3720284 w 5794893"/>
              <a:gd name="connsiteY2538" fmla="*/ 6308681 h 6858000"/>
              <a:gd name="connsiteX2539" fmla="*/ 3602297 w 5794893"/>
              <a:gd name="connsiteY2539" fmla="*/ 6306223 h 6858000"/>
              <a:gd name="connsiteX2540" fmla="*/ 3602297 w 5794893"/>
              <a:gd name="connsiteY2540" fmla="*/ 6309909 h 6858000"/>
              <a:gd name="connsiteX2541" fmla="*/ 3484310 w 5794893"/>
              <a:gd name="connsiteY2541" fmla="*/ 6306223 h 6858000"/>
              <a:gd name="connsiteX2542" fmla="*/ 3484310 w 5794893"/>
              <a:gd name="connsiteY2542" fmla="*/ 6312367 h 6858000"/>
              <a:gd name="connsiteX2543" fmla="*/ 3366323 w 5794893"/>
              <a:gd name="connsiteY2543" fmla="*/ 6306223 h 6858000"/>
              <a:gd name="connsiteX2544" fmla="*/ 3366323 w 5794893"/>
              <a:gd name="connsiteY2544" fmla="*/ 6314825 h 6858000"/>
              <a:gd name="connsiteX2545" fmla="*/ 3248335 w 5794893"/>
              <a:gd name="connsiteY2545" fmla="*/ 6306223 h 6858000"/>
              <a:gd name="connsiteX2546" fmla="*/ 3248335 w 5794893"/>
              <a:gd name="connsiteY2546" fmla="*/ 6317283 h 6858000"/>
              <a:gd name="connsiteX2547" fmla="*/ 3130348 w 5794893"/>
              <a:gd name="connsiteY2547" fmla="*/ 6306223 h 6858000"/>
              <a:gd name="connsiteX2548" fmla="*/ 3129120 w 5794893"/>
              <a:gd name="connsiteY2548" fmla="*/ 6320971 h 6858000"/>
              <a:gd name="connsiteX2549" fmla="*/ 3011133 w 5794893"/>
              <a:gd name="connsiteY2549" fmla="*/ 6307451 h 6858000"/>
              <a:gd name="connsiteX2550" fmla="*/ 3009903 w 5794893"/>
              <a:gd name="connsiteY2550" fmla="*/ 6324658 h 6858000"/>
              <a:gd name="connsiteX2551" fmla="*/ 2893145 w 5794893"/>
              <a:gd name="connsiteY2551" fmla="*/ 6307451 h 6858000"/>
              <a:gd name="connsiteX2552" fmla="*/ 2890687 w 5794893"/>
              <a:gd name="connsiteY2552" fmla="*/ 6328344 h 6858000"/>
              <a:gd name="connsiteX2553" fmla="*/ 2775158 w 5794893"/>
              <a:gd name="connsiteY2553" fmla="*/ 6307451 h 6858000"/>
              <a:gd name="connsiteX2554" fmla="*/ 2771470 w 5794893"/>
              <a:gd name="connsiteY2554" fmla="*/ 6330803 h 6858000"/>
              <a:gd name="connsiteX2555" fmla="*/ 2657171 w 5794893"/>
              <a:gd name="connsiteY2555" fmla="*/ 6307451 h 6858000"/>
              <a:gd name="connsiteX2556" fmla="*/ 2652255 w 5794893"/>
              <a:gd name="connsiteY2556" fmla="*/ 6334490 h 6858000"/>
              <a:gd name="connsiteX2557" fmla="*/ 2539184 w 5794893"/>
              <a:gd name="connsiteY2557" fmla="*/ 6307451 h 6858000"/>
              <a:gd name="connsiteX2558" fmla="*/ 2533038 w 5794893"/>
              <a:gd name="connsiteY2558" fmla="*/ 6338176 h 6858000"/>
              <a:gd name="connsiteX2559" fmla="*/ 2421196 w 5794893"/>
              <a:gd name="connsiteY2559" fmla="*/ 6307451 h 6858000"/>
              <a:gd name="connsiteX2560" fmla="*/ 2413822 w 5794893"/>
              <a:gd name="connsiteY2560" fmla="*/ 6343094 h 6858000"/>
              <a:gd name="connsiteX2561" fmla="*/ 2303209 w 5794893"/>
              <a:gd name="connsiteY2561" fmla="*/ 6307451 h 6858000"/>
              <a:gd name="connsiteX2562" fmla="*/ 2293377 w 5794893"/>
              <a:gd name="connsiteY2562" fmla="*/ 6346780 h 6858000"/>
              <a:gd name="connsiteX2563" fmla="*/ 2185222 w 5794893"/>
              <a:gd name="connsiteY2563" fmla="*/ 6307451 h 6858000"/>
              <a:gd name="connsiteX2564" fmla="*/ 2172932 w 5794893"/>
              <a:gd name="connsiteY2564" fmla="*/ 6351696 h 6858000"/>
              <a:gd name="connsiteX2565" fmla="*/ 2067235 w 5794893"/>
              <a:gd name="connsiteY2565" fmla="*/ 6307451 h 6858000"/>
              <a:gd name="connsiteX2566" fmla="*/ 2051257 w 5794893"/>
              <a:gd name="connsiteY2566" fmla="*/ 6356613 h 6858000"/>
              <a:gd name="connsiteX2567" fmla="*/ 1949247 w 5794893"/>
              <a:gd name="connsiteY2567" fmla="*/ 6307451 h 6858000"/>
              <a:gd name="connsiteX2568" fmla="*/ 1929583 w 5794893"/>
              <a:gd name="connsiteY2568" fmla="*/ 6360299 h 6858000"/>
              <a:gd name="connsiteX2569" fmla="*/ 1831260 w 5794893"/>
              <a:gd name="connsiteY2569" fmla="*/ 6307451 h 6858000"/>
              <a:gd name="connsiteX2570" fmla="*/ 1806680 w 5794893"/>
              <a:gd name="connsiteY2570" fmla="*/ 6365215 h 6858000"/>
              <a:gd name="connsiteX2571" fmla="*/ 1713273 w 5794893"/>
              <a:gd name="connsiteY2571" fmla="*/ 6307451 h 6858000"/>
              <a:gd name="connsiteX2572" fmla="*/ 1683776 w 5794893"/>
              <a:gd name="connsiteY2572" fmla="*/ 6368903 h 6858000"/>
              <a:gd name="connsiteX2573" fmla="*/ 1595286 w 5794893"/>
              <a:gd name="connsiteY2573" fmla="*/ 6307451 h 6858000"/>
              <a:gd name="connsiteX2574" fmla="*/ 1559643 w 5794893"/>
              <a:gd name="connsiteY2574" fmla="*/ 6371361 h 6858000"/>
              <a:gd name="connsiteX2575" fmla="*/ 1686234 w 5794893"/>
              <a:gd name="connsiteY2575" fmla="*/ 6459851 h 6858000"/>
              <a:gd name="connsiteX2576" fmla="*/ 1719418 w 5794893"/>
              <a:gd name="connsiteY2576" fmla="*/ 6399628 h 6858000"/>
              <a:gd name="connsiteX2577" fmla="*/ 1816512 w 5794893"/>
              <a:gd name="connsiteY2577" fmla="*/ 6459851 h 6858000"/>
              <a:gd name="connsiteX2578" fmla="*/ 1843551 w 5794893"/>
              <a:gd name="connsiteY2578" fmla="*/ 6404546 h 6858000"/>
              <a:gd name="connsiteX2579" fmla="*/ 1946789 w 5794893"/>
              <a:gd name="connsiteY2579" fmla="*/ 6459851 h 6858000"/>
              <a:gd name="connsiteX2580" fmla="*/ 1968912 w 5794893"/>
              <a:gd name="connsiteY2580" fmla="*/ 6408232 h 6858000"/>
              <a:gd name="connsiteX2581" fmla="*/ 2077067 w 5794893"/>
              <a:gd name="connsiteY2581" fmla="*/ 6459851 h 6858000"/>
              <a:gd name="connsiteX2582" fmla="*/ 2094273 w 5794893"/>
              <a:gd name="connsiteY2582" fmla="*/ 6413148 h 6858000"/>
              <a:gd name="connsiteX2583" fmla="*/ 2206115 w 5794893"/>
              <a:gd name="connsiteY2583" fmla="*/ 6459851 h 6858000"/>
              <a:gd name="connsiteX2584" fmla="*/ 2219635 w 5794893"/>
              <a:gd name="connsiteY2584" fmla="*/ 6416836 h 6858000"/>
              <a:gd name="connsiteX2585" fmla="*/ 2335164 w 5794893"/>
              <a:gd name="connsiteY2585" fmla="*/ 6459851 h 6858000"/>
              <a:gd name="connsiteX2586" fmla="*/ 2346225 w 5794893"/>
              <a:gd name="connsiteY2586" fmla="*/ 6421751 h 6858000"/>
              <a:gd name="connsiteX2587" fmla="*/ 2465442 w 5794893"/>
              <a:gd name="connsiteY2587" fmla="*/ 6459851 h 6858000"/>
              <a:gd name="connsiteX2588" fmla="*/ 2474044 w 5794893"/>
              <a:gd name="connsiteY2588" fmla="*/ 6425438 h 6858000"/>
              <a:gd name="connsiteX2589" fmla="*/ 2595719 w 5794893"/>
              <a:gd name="connsiteY2589" fmla="*/ 6459851 h 6858000"/>
              <a:gd name="connsiteX2590" fmla="*/ 2601864 w 5794893"/>
              <a:gd name="connsiteY2590" fmla="*/ 6430355 h 6858000"/>
              <a:gd name="connsiteX2591" fmla="*/ 2724767 w 5794893"/>
              <a:gd name="connsiteY2591" fmla="*/ 6459851 h 6858000"/>
              <a:gd name="connsiteX2592" fmla="*/ 2729683 w 5794893"/>
              <a:gd name="connsiteY2592" fmla="*/ 6434041 h 6858000"/>
              <a:gd name="connsiteX2593" fmla="*/ 2853816 w 5794893"/>
              <a:gd name="connsiteY2593" fmla="*/ 6459851 h 6858000"/>
              <a:gd name="connsiteX2594" fmla="*/ 2857503 w 5794893"/>
              <a:gd name="connsiteY2594" fmla="*/ 6437729 h 6858000"/>
              <a:gd name="connsiteX2595" fmla="*/ 2984094 w 5794893"/>
              <a:gd name="connsiteY2595" fmla="*/ 6459851 h 6858000"/>
              <a:gd name="connsiteX2596" fmla="*/ 2986552 w 5794893"/>
              <a:gd name="connsiteY2596" fmla="*/ 6441417 h 6858000"/>
              <a:gd name="connsiteX2597" fmla="*/ 3113142 w 5794893"/>
              <a:gd name="connsiteY2597" fmla="*/ 6459851 h 6858000"/>
              <a:gd name="connsiteX2598" fmla="*/ 3114371 w 5794893"/>
              <a:gd name="connsiteY2598" fmla="*/ 6443875 h 6858000"/>
              <a:gd name="connsiteX2599" fmla="*/ 3242191 w 5794893"/>
              <a:gd name="connsiteY2599" fmla="*/ 6459851 h 6858000"/>
              <a:gd name="connsiteX2600" fmla="*/ 3243419 w 5794893"/>
              <a:gd name="connsiteY2600" fmla="*/ 6447561 h 6858000"/>
              <a:gd name="connsiteX2601" fmla="*/ 3372468 w 5794893"/>
              <a:gd name="connsiteY2601" fmla="*/ 6459851 h 6858000"/>
              <a:gd name="connsiteX2602" fmla="*/ 3373697 w 5794893"/>
              <a:gd name="connsiteY2602" fmla="*/ 6450019 h 6858000"/>
              <a:gd name="connsiteX2603" fmla="*/ 3502746 w 5794893"/>
              <a:gd name="connsiteY2603" fmla="*/ 6459851 h 6858000"/>
              <a:gd name="connsiteX2604" fmla="*/ 3502746 w 5794893"/>
              <a:gd name="connsiteY2604" fmla="*/ 6452477 h 6858000"/>
              <a:gd name="connsiteX2605" fmla="*/ 3631794 w 5794893"/>
              <a:gd name="connsiteY2605" fmla="*/ 6459851 h 6858000"/>
              <a:gd name="connsiteX2606" fmla="*/ 3631794 w 5794893"/>
              <a:gd name="connsiteY2606" fmla="*/ 6454935 h 6858000"/>
              <a:gd name="connsiteX2607" fmla="*/ 3640398 w 5794893"/>
              <a:gd name="connsiteY2607" fmla="*/ 6454935 h 6858000"/>
              <a:gd name="connsiteX2608" fmla="*/ 3720284 w 5794893"/>
              <a:gd name="connsiteY2608" fmla="*/ 6457393 h 6858000"/>
              <a:gd name="connsiteX2609" fmla="*/ 3720284 w 5794893"/>
              <a:gd name="connsiteY2609" fmla="*/ 6459851 h 6858000"/>
              <a:gd name="connsiteX2610" fmla="*/ 5711320 w 5794893"/>
              <a:gd name="connsiteY2610" fmla="*/ 6501639 h 6858000"/>
              <a:gd name="connsiteX2611" fmla="*/ 3720284 w 5794893"/>
              <a:gd name="connsiteY2611" fmla="*/ 6501639 h 6858000"/>
              <a:gd name="connsiteX2612" fmla="*/ 3720284 w 5794893"/>
              <a:gd name="connsiteY2612" fmla="*/ 6504097 h 6858000"/>
              <a:gd name="connsiteX2613" fmla="*/ 3602297 w 5794893"/>
              <a:gd name="connsiteY2613" fmla="*/ 6501639 h 6858000"/>
              <a:gd name="connsiteX2614" fmla="*/ 3602297 w 5794893"/>
              <a:gd name="connsiteY2614" fmla="*/ 6505326 h 6858000"/>
              <a:gd name="connsiteX2615" fmla="*/ 3484310 w 5794893"/>
              <a:gd name="connsiteY2615" fmla="*/ 6501639 h 6858000"/>
              <a:gd name="connsiteX2616" fmla="*/ 3484310 w 5794893"/>
              <a:gd name="connsiteY2616" fmla="*/ 6507783 h 6858000"/>
              <a:gd name="connsiteX2617" fmla="*/ 3366323 w 5794893"/>
              <a:gd name="connsiteY2617" fmla="*/ 6501639 h 6858000"/>
              <a:gd name="connsiteX2618" fmla="*/ 3366323 w 5794893"/>
              <a:gd name="connsiteY2618" fmla="*/ 6510241 h 6858000"/>
              <a:gd name="connsiteX2619" fmla="*/ 3248335 w 5794893"/>
              <a:gd name="connsiteY2619" fmla="*/ 6501639 h 6858000"/>
              <a:gd name="connsiteX2620" fmla="*/ 3248335 w 5794893"/>
              <a:gd name="connsiteY2620" fmla="*/ 6512699 h 6858000"/>
              <a:gd name="connsiteX2621" fmla="*/ 3130348 w 5794893"/>
              <a:gd name="connsiteY2621" fmla="*/ 6501639 h 6858000"/>
              <a:gd name="connsiteX2622" fmla="*/ 3129120 w 5794893"/>
              <a:gd name="connsiteY2622" fmla="*/ 6516387 h 6858000"/>
              <a:gd name="connsiteX2623" fmla="*/ 3011133 w 5794893"/>
              <a:gd name="connsiteY2623" fmla="*/ 6501639 h 6858000"/>
              <a:gd name="connsiteX2624" fmla="*/ 3009903 w 5794893"/>
              <a:gd name="connsiteY2624" fmla="*/ 6518845 h 6858000"/>
              <a:gd name="connsiteX2625" fmla="*/ 2893145 w 5794893"/>
              <a:gd name="connsiteY2625" fmla="*/ 6501639 h 6858000"/>
              <a:gd name="connsiteX2626" fmla="*/ 2890687 w 5794893"/>
              <a:gd name="connsiteY2626" fmla="*/ 6522531 h 6858000"/>
              <a:gd name="connsiteX2627" fmla="*/ 2775158 w 5794893"/>
              <a:gd name="connsiteY2627" fmla="*/ 6501639 h 6858000"/>
              <a:gd name="connsiteX2628" fmla="*/ 2771470 w 5794893"/>
              <a:gd name="connsiteY2628" fmla="*/ 6526219 h 6858000"/>
              <a:gd name="connsiteX2629" fmla="*/ 2657171 w 5794893"/>
              <a:gd name="connsiteY2629" fmla="*/ 6501639 h 6858000"/>
              <a:gd name="connsiteX2630" fmla="*/ 2652255 w 5794893"/>
              <a:gd name="connsiteY2630" fmla="*/ 6528677 h 6858000"/>
              <a:gd name="connsiteX2631" fmla="*/ 2539184 w 5794893"/>
              <a:gd name="connsiteY2631" fmla="*/ 6501639 h 6858000"/>
              <a:gd name="connsiteX2632" fmla="*/ 2533038 w 5794893"/>
              <a:gd name="connsiteY2632" fmla="*/ 6533593 h 6858000"/>
              <a:gd name="connsiteX2633" fmla="*/ 2421196 w 5794893"/>
              <a:gd name="connsiteY2633" fmla="*/ 6501639 h 6858000"/>
              <a:gd name="connsiteX2634" fmla="*/ 2413822 w 5794893"/>
              <a:gd name="connsiteY2634" fmla="*/ 6537280 h 6858000"/>
              <a:gd name="connsiteX2635" fmla="*/ 2303209 w 5794893"/>
              <a:gd name="connsiteY2635" fmla="*/ 6501639 h 6858000"/>
              <a:gd name="connsiteX2636" fmla="*/ 2293377 w 5794893"/>
              <a:gd name="connsiteY2636" fmla="*/ 6540968 h 6858000"/>
              <a:gd name="connsiteX2637" fmla="*/ 2185222 w 5794893"/>
              <a:gd name="connsiteY2637" fmla="*/ 6501639 h 6858000"/>
              <a:gd name="connsiteX2638" fmla="*/ 2172932 w 5794893"/>
              <a:gd name="connsiteY2638" fmla="*/ 6545884 h 6858000"/>
              <a:gd name="connsiteX2639" fmla="*/ 2067235 w 5794893"/>
              <a:gd name="connsiteY2639" fmla="*/ 6501639 h 6858000"/>
              <a:gd name="connsiteX2640" fmla="*/ 2051257 w 5794893"/>
              <a:gd name="connsiteY2640" fmla="*/ 6550800 h 6858000"/>
              <a:gd name="connsiteX2641" fmla="*/ 1949247 w 5794893"/>
              <a:gd name="connsiteY2641" fmla="*/ 6501639 h 6858000"/>
              <a:gd name="connsiteX2642" fmla="*/ 1929583 w 5794893"/>
              <a:gd name="connsiteY2642" fmla="*/ 6554488 h 6858000"/>
              <a:gd name="connsiteX2643" fmla="*/ 1831260 w 5794893"/>
              <a:gd name="connsiteY2643" fmla="*/ 6501639 h 6858000"/>
              <a:gd name="connsiteX2644" fmla="*/ 1806680 w 5794893"/>
              <a:gd name="connsiteY2644" fmla="*/ 6559402 h 6858000"/>
              <a:gd name="connsiteX2645" fmla="*/ 1713273 w 5794893"/>
              <a:gd name="connsiteY2645" fmla="*/ 6501639 h 6858000"/>
              <a:gd name="connsiteX2646" fmla="*/ 1683776 w 5794893"/>
              <a:gd name="connsiteY2646" fmla="*/ 6564320 h 6858000"/>
              <a:gd name="connsiteX2647" fmla="*/ 1595286 w 5794893"/>
              <a:gd name="connsiteY2647" fmla="*/ 6501639 h 6858000"/>
              <a:gd name="connsiteX2648" fmla="*/ 1559643 w 5794893"/>
              <a:gd name="connsiteY2648" fmla="*/ 6565548 h 6858000"/>
              <a:gd name="connsiteX2649" fmla="*/ 1685005 w 5794893"/>
              <a:gd name="connsiteY2649" fmla="*/ 6654039 h 6858000"/>
              <a:gd name="connsiteX2650" fmla="*/ 1718189 w 5794893"/>
              <a:gd name="connsiteY2650" fmla="*/ 6593815 h 6858000"/>
              <a:gd name="connsiteX2651" fmla="*/ 1815282 w 5794893"/>
              <a:gd name="connsiteY2651" fmla="*/ 6654039 h 6858000"/>
              <a:gd name="connsiteX2652" fmla="*/ 1842321 w 5794893"/>
              <a:gd name="connsiteY2652" fmla="*/ 6598732 h 6858000"/>
              <a:gd name="connsiteX2653" fmla="*/ 1945560 w 5794893"/>
              <a:gd name="connsiteY2653" fmla="*/ 6654039 h 6858000"/>
              <a:gd name="connsiteX2654" fmla="*/ 1967682 w 5794893"/>
              <a:gd name="connsiteY2654" fmla="*/ 6602419 h 6858000"/>
              <a:gd name="connsiteX2655" fmla="*/ 2075837 w 5794893"/>
              <a:gd name="connsiteY2655" fmla="*/ 6654039 h 6858000"/>
              <a:gd name="connsiteX2656" fmla="*/ 2093044 w 5794893"/>
              <a:gd name="connsiteY2656" fmla="*/ 6607335 h 6858000"/>
              <a:gd name="connsiteX2657" fmla="*/ 2204887 w 5794893"/>
              <a:gd name="connsiteY2657" fmla="*/ 6654039 h 6858000"/>
              <a:gd name="connsiteX2658" fmla="*/ 2218405 w 5794893"/>
              <a:gd name="connsiteY2658" fmla="*/ 6611022 h 6858000"/>
              <a:gd name="connsiteX2659" fmla="*/ 2333934 w 5794893"/>
              <a:gd name="connsiteY2659" fmla="*/ 6654039 h 6858000"/>
              <a:gd name="connsiteX2660" fmla="*/ 2344996 w 5794893"/>
              <a:gd name="connsiteY2660" fmla="*/ 6615939 h 6858000"/>
              <a:gd name="connsiteX2661" fmla="*/ 2464212 w 5794893"/>
              <a:gd name="connsiteY2661" fmla="*/ 6654039 h 6858000"/>
              <a:gd name="connsiteX2662" fmla="*/ 2472816 w 5794893"/>
              <a:gd name="connsiteY2662" fmla="*/ 6619626 h 6858000"/>
              <a:gd name="connsiteX2663" fmla="*/ 2593261 w 5794893"/>
              <a:gd name="connsiteY2663" fmla="*/ 6654039 h 6858000"/>
              <a:gd name="connsiteX2664" fmla="*/ 2598177 w 5794893"/>
              <a:gd name="connsiteY2664" fmla="*/ 6625772 h 6858000"/>
              <a:gd name="connsiteX2665" fmla="*/ 2721081 w 5794893"/>
              <a:gd name="connsiteY2665" fmla="*/ 6655267 h 6858000"/>
              <a:gd name="connsiteX2666" fmla="*/ 2725997 w 5794893"/>
              <a:gd name="connsiteY2666" fmla="*/ 6629458 h 6858000"/>
              <a:gd name="connsiteX2667" fmla="*/ 2851358 w 5794893"/>
              <a:gd name="connsiteY2667" fmla="*/ 6655267 h 6858000"/>
              <a:gd name="connsiteX2668" fmla="*/ 2855045 w 5794893"/>
              <a:gd name="connsiteY2668" fmla="*/ 6633144 h 6858000"/>
              <a:gd name="connsiteX2669" fmla="*/ 2981636 w 5794893"/>
              <a:gd name="connsiteY2669" fmla="*/ 6655267 h 6858000"/>
              <a:gd name="connsiteX2670" fmla="*/ 2984094 w 5794893"/>
              <a:gd name="connsiteY2670" fmla="*/ 6636832 h 6858000"/>
              <a:gd name="connsiteX2671" fmla="*/ 3110684 w 5794893"/>
              <a:gd name="connsiteY2671" fmla="*/ 6655267 h 6858000"/>
              <a:gd name="connsiteX2672" fmla="*/ 3113142 w 5794893"/>
              <a:gd name="connsiteY2672" fmla="*/ 6639290 h 6858000"/>
              <a:gd name="connsiteX2673" fmla="*/ 3240961 w 5794893"/>
              <a:gd name="connsiteY2673" fmla="*/ 6655267 h 6858000"/>
              <a:gd name="connsiteX2674" fmla="*/ 3242191 w 5794893"/>
              <a:gd name="connsiteY2674" fmla="*/ 6642977 h 6858000"/>
              <a:gd name="connsiteX2675" fmla="*/ 3371239 w 5794893"/>
              <a:gd name="connsiteY2675" fmla="*/ 6655267 h 6858000"/>
              <a:gd name="connsiteX2676" fmla="*/ 3372468 w 5794893"/>
              <a:gd name="connsiteY2676" fmla="*/ 6645435 h 6858000"/>
              <a:gd name="connsiteX2677" fmla="*/ 3501516 w 5794893"/>
              <a:gd name="connsiteY2677" fmla="*/ 6655267 h 6858000"/>
              <a:gd name="connsiteX2678" fmla="*/ 3501516 w 5794893"/>
              <a:gd name="connsiteY2678" fmla="*/ 6647893 h 6858000"/>
              <a:gd name="connsiteX2679" fmla="*/ 3630565 w 5794893"/>
              <a:gd name="connsiteY2679" fmla="*/ 6655267 h 6858000"/>
              <a:gd name="connsiteX2680" fmla="*/ 3630565 w 5794893"/>
              <a:gd name="connsiteY2680" fmla="*/ 6650352 h 6858000"/>
              <a:gd name="connsiteX2681" fmla="*/ 3639168 w 5794893"/>
              <a:gd name="connsiteY2681" fmla="*/ 6650352 h 6858000"/>
              <a:gd name="connsiteX2682" fmla="*/ 3719056 w 5794893"/>
              <a:gd name="connsiteY2682" fmla="*/ 6652810 h 6858000"/>
              <a:gd name="connsiteX2683" fmla="*/ 3719056 w 5794893"/>
              <a:gd name="connsiteY2683" fmla="*/ 6654039 h 6858000"/>
              <a:gd name="connsiteX2684" fmla="*/ 5715007 w 5794893"/>
              <a:gd name="connsiteY2684" fmla="*/ 6700742 h 6858000"/>
              <a:gd name="connsiteX2685" fmla="*/ 3716598 w 5794893"/>
              <a:gd name="connsiteY2685" fmla="*/ 6700742 h 6858000"/>
              <a:gd name="connsiteX2686" fmla="*/ 3716598 w 5794893"/>
              <a:gd name="connsiteY2686" fmla="*/ 6701972 h 6858000"/>
              <a:gd name="connsiteX2687" fmla="*/ 3598611 w 5794893"/>
              <a:gd name="connsiteY2687" fmla="*/ 6699514 h 6858000"/>
              <a:gd name="connsiteX2688" fmla="*/ 3598611 w 5794893"/>
              <a:gd name="connsiteY2688" fmla="*/ 6703200 h 6858000"/>
              <a:gd name="connsiteX2689" fmla="*/ 3480623 w 5794893"/>
              <a:gd name="connsiteY2689" fmla="*/ 6699514 h 6858000"/>
              <a:gd name="connsiteX2690" fmla="*/ 3480623 w 5794893"/>
              <a:gd name="connsiteY2690" fmla="*/ 6705658 h 6858000"/>
              <a:gd name="connsiteX2691" fmla="*/ 3362636 w 5794893"/>
              <a:gd name="connsiteY2691" fmla="*/ 6699514 h 6858000"/>
              <a:gd name="connsiteX2692" fmla="*/ 3362636 w 5794893"/>
              <a:gd name="connsiteY2692" fmla="*/ 6708116 h 6858000"/>
              <a:gd name="connsiteX2693" fmla="*/ 3244649 w 5794893"/>
              <a:gd name="connsiteY2693" fmla="*/ 6699514 h 6858000"/>
              <a:gd name="connsiteX2694" fmla="*/ 3244649 w 5794893"/>
              <a:gd name="connsiteY2694" fmla="*/ 6710574 h 6858000"/>
              <a:gd name="connsiteX2695" fmla="*/ 3126662 w 5794893"/>
              <a:gd name="connsiteY2695" fmla="*/ 6699514 h 6858000"/>
              <a:gd name="connsiteX2696" fmla="*/ 3125432 w 5794893"/>
              <a:gd name="connsiteY2696" fmla="*/ 6714262 h 6858000"/>
              <a:gd name="connsiteX2697" fmla="*/ 3007445 w 5794893"/>
              <a:gd name="connsiteY2697" fmla="*/ 6699514 h 6858000"/>
              <a:gd name="connsiteX2698" fmla="*/ 3006216 w 5794893"/>
              <a:gd name="connsiteY2698" fmla="*/ 6716719 h 6858000"/>
              <a:gd name="connsiteX2699" fmla="*/ 2889458 w 5794893"/>
              <a:gd name="connsiteY2699" fmla="*/ 6699514 h 6858000"/>
              <a:gd name="connsiteX2700" fmla="*/ 2887000 w 5794893"/>
              <a:gd name="connsiteY2700" fmla="*/ 6720406 h 6858000"/>
              <a:gd name="connsiteX2701" fmla="*/ 2771470 w 5794893"/>
              <a:gd name="connsiteY2701" fmla="*/ 6699514 h 6858000"/>
              <a:gd name="connsiteX2702" fmla="*/ 2767784 w 5794893"/>
              <a:gd name="connsiteY2702" fmla="*/ 6724094 h 6858000"/>
              <a:gd name="connsiteX2703" fmla="*/ 2653483 w 5794893"/>
              <a:gd name="connsiteY2703" fmla="*/ 6699514 h 6858000"/>
              <a:gd name="connsiteX2704" fmla="*/ 2648567 w 5794893"/>
              <a:gd name="connsiteY2704" fmla="*/ 6726552 h 6858000"/>
              <a:gd name="connsiteX2705" fmla="*/ 2535496 w 5794893"/>
              <a:gd name="connsiteY2705" fmla="*/ 6699514 h 6858000"/>
              <a:gd name="connsiteX2706" fmla="*/ 2529351 w 5794893"/>
              <a:gd name="connsiteY2706" fmla="*/ 6731467 h 6858000"/>
              <a:gd name="connsiteX2707" fmla="*/ 2417509 w 5794893"/>
              <a:gd name="connsiteY2707" fmla="*/ 6699514 h 6858000"/>
              <a:gd name="connsiteX2708" fmla="*/ 2410134 w 5794893"/>
              <a:gd name="connsiteY2708" fmla="*/ 6735155 h 6858000"/>
              <a:gd name="connsiteX2709" fmla="*/ 2299521 w 5794893"/>
              <a:gd name="connsiteY2709" fmla="*/ 6699514 h 6858000"/>
              <a:gd name="connsiteX2710" fmla="*/ 2289689 w 5794893"/>
              <a:gd name="connsiteY2710" fmla="*/ 6738843 h 6858000"/>
              <a:gd name="connsiteX2711" fmla="*/ 2181534 w 5794893"/>
              <a:gd name="connsiteY2711" fmla="*/ 6699514 h 6858000"/>
              <a:gd name="connsiteX2712" fmla="*/ 2169244 w 5794893"/>
              <a:gd name="connsiteY2712" fmla="*/ 6743757 h 6858000"/>
              <a:gd name="connsiteX2713" fmla="*/ 2063547 w 5794893"/>
              <a:gd name="connsiteY2713" fmla="*/ 6699514 h 6858000"/>
              <a:gd name="connsiteX2714" fmla="*/ 2047570 w 5794893"/>
              <a:gd name="connsiteY2714" fmla="*/ 6748675 h 6858000"/>
              <a:gd name="connsiteX2715" fmla="*/ 1945560 w 5794893"/>
              <a:gd name="connsiteY2715" fmla="*/ 6699514 h 6858000"/>
              <a:gd name="connsiteX2716" fmla="*/ 1925895 w 5794893"/>
              <a:gd name="connsiteY2716" fmla="*/ 6752361 h 6858000"/>
              <a:gd name="connsiteX2717" fmla="*/ 1827572 w 5794893"/>
              <a:gd name="connsiteY2717" fmla="*/ 6699514 h 6858000"/>
              <a:gd name="connsiteX2718" fmla="*/ 1802992 w 5794893"/>
              <a:gd name="connsiteY2718" fmla="*/ 6757277 h 6858000"/>
              <a:gd name="connsiteX2719" fmla="*/ 1709585 w 5794893"/>
              <a:gd name="connsiteY2719" fmla="*/ 6699514 h 6858000"/>
              <a:gd name="connsiteX2720" fmla="*/ 1680088 w 5794893"/>
              <a:gd name="connsiteY2720" fmla="*/ 6762194 h 6858000"/>
              <a:gd name="connsiteX2721" fmla="*/ 1591598 w 5794893"/>
              <a:gd name="connsiteY2721" fmla="*/ 6699514 h 6858000"/>
              <a:gd name="connsiteX2722" fmla="*/ 1557758 w 5794893"/>
              <a:gd name="connsiteY2722" fmla="*/ 6760194 h 6858000"/>
              <a:gd name="connsiteX2723" fmla="*/ 1477299 w 5794893"/>
              <a:gd name="connsiteY2723" fmla="*/ 6695826 h 6858000"/>
              <a:gd name="connsiteX2724" fmla="*/ 1440428 w 5794893"/>
              <a:gd name="connsiteY2724" fmla="*/ 6754819 h 6858000"/>
              <a:gd name="connsiteX2725" fmla="*/ 1557185 w 5794893"/>
              <a:gd name="connsiteY2725" fmla="*/ 6848226 h 6858000"/>
              <a:gd name="connsiteX2726" fmla="*/ 1593698 w 5794893"/>
              <a:gd name="connsiteY2726" fmla="*/ 6789805 h 6858000"/>
              <a:gd name="connsiteX2727" fmla="*/ 1682547 w 5794893"/>
              <a:gd name="connsiteY2727" fmla="*/ 6851912 h 6858000"/>
              <a:gd name="connsiteX2728" fmla="*/ 1715731 w 5794893"/>
              <a:gd name="connsiteY2728" fmla="*/ 6791690 h 6858000"/>
              <a:gd name="connsiteX2729" fmla="*/ 1812824 w 5794893"/>
              <a:gd name="connsiteY2729" fmla="*/ 6851912 h 6858000"/>
              <a:gd name="connsiteX2730" fmla="*/ 1839863 w 5794893"/>
              <a:gd name="connsiteY2730" fmla="*/ 6796607 h 6858000"/>
              <a:gd name="connsiteX2731" fmla="*/ 1943102 w 5794893"/>
              <a:gd name="connsiteY2731" fmla="*/ 6851912 h 6858000"/>
              <a:gd name="connsiteX2732" fmla="*/ 1965224 w 5794893"/>
              <a:gd name="connsiteY2732" fmla="*/ 6800294 h 6858000"/>
              <a:gd name="connsiteX2733" fmla="*/ 2073379 w 5794893"/>
              <a:gd name="connsiteY2733" fmla="*/ 6851912 h 6858000"/>
              <a:gd name="connsiteX2734" fmla="*/ 2090586 w 5794893"/>
              <a:gd name="connsiteY2734" fmla="*/ 6805209 h 6858000"/>
              <a:gd name="connsiteX2735" fmla="*/ 2202428 w 5794893"/>
              <a:gd name="connsiteY2735" fmla="*/ 6851912 h 6858000"/>
              <a:gd name="connsiteX2736" fmla="*/ 2215947 w 5794893"/>
              <a:gd name="connsiteY2736" fmla="*/ 6808897 h 6858000"/>
              <a:gd name="connsiteX2737" fmla="*/ 2331476 w 5794893"/>
              <a:gd name="connsiteY2737" fmla="*/ 6851912 h 6858000"/>
              <a:gd name="connsiteX2738" fmla="*/ 2342538 w 5794893"/>
              <a:gd name="connsiteY2738" fmla="*/ 6813813 h 6858000"/>
              <a:gd name="connsiteX2739" fmla="*/ 2461754 w 5794893"/>
              <a:gd name="connsiteY2739" fmla="*/ 6851912 h 6858000"/>
              <a:gd name="connsiteX2740" fmla="*/ 2470358 w 5794893"/>
              <a:gd name="connsiteY2740" fmla="*/ 6817499 h 6858000"/>
              <a:gd name="connsiteX2741" fmla="*/ 2592031 w 5794893"/>
              <a:gd name="connsiteY2741" fmla="*/ 6851912 h 6858000"/>
              <a:gd name="connsiteX2742" fmla="*/ 2598177 w 5794893"/>
              <a:gd name="connsiteY2742" fmla="*/ 6822417 h 6858000"/>
              <a:gd name="connsiteX2743" fmla="*/ 2721081 w 5794893"/>
              <a:gd name="connsiteY2743" fmla="*/ 6851912 h 6858000"/>
              <a:gd name="connsiteX2744" fmla="*/ 2725997 w 5794893"/>
              <a:gd name="connsiteY2744" fmla="*/ 6826103 h 6858000"/>
              <a:gd name="connsiteX2745" fmla="*/ 2851358 w 5794893"/>
              <a:gd name="connsiteY2745" fmla="*/ 6851912 h 6858000"/>
              <a:gd name="connsiteX2746" fmla="*/ 2855045 w 5794893"/>
              <a:gd name="connsiteY2746" fmla="*/ 6829790 h 6858000"/>
              <a:gd name="connsiteX2747" fmla="*/ 2981636 w 5794893"/>
              <a:gd name="connsiteY2747" fmla="*/ 6851912 h 6858000"/>
              <a:gd name="connsiteX2748" fmla="*/ 2984094 w 5794893"/>
              <a:gd name="connsiteY2748" fmla="*/ 6833478 h 6858000"/>
              <a:gd name="connsiteX2749" fmla="*/ 3110684 w 5794893"/>
              <a:gd name="connsiteY2749" fmla="*/ 6851912 h 6858000"/>
              <a:gd name="connsiteX2750" fmla="*/ 3111913 w 5794893"/>
              <a:gd name="connsiteY2750" fmla="*/ 6835936 h 6858000"/>
              <a:gd name="connsiteX2751" fmla="*/ 3239733 w 5794893"/>
              <a:gd name="connsiteY2751" fmla="*/ 6851912 h 6858000"/>
              <a:gd name="connsiteX2752" fmla="*/ 3240961 w 5794893"/>
              <a:gd name="connsiteY2752" fmla="*/ 6839622 h 6858000"/>
              <a:gd name="connsiteX2753" fmla="*/ 3370010 w 5794893"/>
              <a:gd name="connsiteY2753" fmla="*/ 6851912 h 6858000"/>
              <a:gd name="connsiteX2754" fmla="*/ 3371239 w 5794893"/>
              <a:gd name="connsiteY2754" fmla="*/ 6842080 h 6858000"/>
              <a:gd name="connsiteX2755" fmla="*/ 3500288 w 5794893"/>
              <a:gd name="connsiteY2755" fmla="*/ 6851912 h 6858000"/>
              <a:gd name="connsiteX2756" fmla="*/ 3500288 w 5794893"/>
              <a:gd name="connsiteY2756" fmla="*/ 6844538 h 6858000"/>
              <a:gd name="connsiteX2757" fmla="*/ 3629336 w 5794893"/>
              <a:gd name="connsiteY2757" fmla="*/ 6851912 h 6858000"/>
              <a:gd name="connsiteX2758" fmla="*/ 3629336 w 5794893"/>
              <a:gd name="connsiteY2758" fmla="*/ 6848226 h 6858000"/>
              <a:gd name="connsiteX2759" fmla="*/ 3637940 w 5794893"/>
              <a:gd name="connsiteY2759" fmla="*/ 6848226 h 6858000"/>
              <a:gd name="connsiteX2760" fmla="*/ 3717826 w 5794893"/>
              <a:gd name="connsiteY2760" fmla="*/ 6850684 h 6858000"/>
              <a:gd name="connsiteX2761" fmla="*/ 3717826 w 5794893"/>
              <a:gd name="connsiteY2761" fmla="*/ 6851912 h 6858000"/>
              <a:gd name="connsiteX2762" fmla="*/ 4009865 w 5794893"/>
              <a:gd name="connsiteY2762" fmla="*/ 6858000 h 6858000"/>
              <a:gd name="connsiteX2763" fmla="*/ 0 w 5794893"/>
              <a:gd name="connsiteY2763" fmla="*/ 6858000 h 6858000"/>
              <a:gd name="connsiteX2764" fmla="*/ 0 w 5794893"/>
              <a:gd name="connsiteY2764" fmla="*/ 6848226 h 6858000"/>
              <a:gd name="connsiteX2765" fmla="*/ 60222 w 5794893"/>
              <a:gd name="connsiteY2765" fmla="*/ 6848226 h 6858000"/>
              <a:gd name="connsiteX2766" fmla="*/ 60222 w 5794893"/>
              <a:gd name="connsiteY2766" fmla="*/ 6694596 h 6858000"/>
              <a:gd name="connsiteX2767" fmla="*/ 0 w 5794893"/>
              <a:gd name="connsiteY2767" fmla="*/ 6694596 h 6858000"/>
              <a:gd name="connsiteX2768" fmla="*/ 0 w 5794893"/>
              <a:gd name="connsiteY2768" fmla="*/ 6654039 h 6858000"/>
              <a:gd name="connsiteX2769" fmla="*/ 60222 w 5794893"/>
              <a:gd name="connsiteY2769" fmla="*/ 6654039 h 6858000"/>
              <a:gd name="connsiteX2770" fmla="*/ 60222 w 5794893"/>
              <a:gd name="connsiteY2770" fmla="*/ 6504097 h 6858000"/>
              <a:gd name="connsiteX2771" fmla="*/ 0 w 5794893"/>
              <a:gd name="connsiteY2771" fmla="*/ 6504097 h 6858000"/>
              <a:gd name="connsiteX2772" fmla="*/ 0 w 5794893"/>
              <a:gd name="connsiteY2772" fmla="*/ 6462309 h 6858000"/>
              <a:gd name="connsiteX2773" fmla="*/ 60222 w 5794893"/>
              <a:gd name="connsiteY2773" fmla="*/ 6462309 h 6858000"/>
              <a:gd name="connsiteX2774" fmla="*/ 60222 w 5794893"/>
              <a:gd name="connsiteY2774" fmla="*/ 6308681 h 6858000"/>
              <a:gd name="connsiteX2775" fmla="*/ 0 w 5794893"/>
              <a:gd name="connsiteY2775" fmla="*/ 6308681 h 6858000"/>
              <a:gd name="connsiteX2776" fmla="*/ 0 w 5794893"/>
              <a:gd name="connsiteY2776" fmla="*/ 6271810 h 6858000"/>
              <a:gd name="connsiteX2777" fmla="*/ 60222 w 5794893"/>
              <a:gd name="connsiteY2777" fmla="*/ 6271810 h 6858000"/>
              <a:gd name="connsiteX2778" fmla="*/ 60222 w 5794893"/>
              <a:gd name="connsiteY2778" fmla="*/ 6118180 h 6858000"/>
              <a:gd name="connsiteX2779" fmla="*/ 0 w 5794893"/>
              <a:gd name="connsiteY2779" fmla="*/ 6118180 h 6858000"/>
              <a:gd name="connsiteX2780" fmla="*/ 0 w 5794893"/>
              <a:gd name="connsiteY2780" fmla="*/ 6081309 h 6858000"/>
              <a:gd name="connsiteX2781" fmla="*/ 60222 w 5794893"/>
              <a:gd name="connsiteY2781" fmla="*/ 6081309 h 6858000"/>
              <a:gd name="connsiteX2782" fmla="*/ 60222 w 5794893"/>
              <a:gd name="connsiteY2782" fmla="*/ 5927679 h 6858000"/>
              <a:gd name="connsiteX2783" fmla="*/ 0 w 5794893"/>
              <a:gd name="connsiteY2783" fmla="*/ 5927679 h 6858000"/>
              <a:gd name="connsiteX2784" fmla="*/ 0 w 5794893"/>
              <a:gd name="connsiteY2784" fmla="*/ 5888351 h 6858000"/>
              <a:gd name="connsiteX2785" fmla="*/ 60222 w 5794893"/>
              <a:gd name="connsiteY2785" fmla="*/ 5888351 h 6858000"/>
              <a:gd name="connsiteX2786" fmla="*/ 60222 w 5794893"/>
              <a:gd name="connsiteY2786" fmla="*/ 5734722 h 6858000"/>
              <a:gd name="connsiteX2787" fmla="*/ 0 w 5794893"/>
              <a:gd name="connsiteY2787" fmla="*/ 5734722 h 6858000"/>
              <a:gd name="connsiteX2788" fmla="*/ 0 w 5794893"/>
              <a:gd name="connsiteY2788" fmla="*/ 5695392 h 6858000"/>
              <a:gd name="connsiteX2789" fmla="*/ 60222 w 5794893"/>
              <a:gd name="connsiteY2789" fmla="*/ 5695392 h 6858000"/>
              <a:gd name="connsiteX2790" fmla="*/ 60222 w 5794893"/>
              <a:gd name="connsiteY2790" fmla="*/ 5539305 h 6858000"/>
              <a:gd name="connsiteX2791" fmla="*/ 0 w 5794893"/>
              <a:gd name="connsiteY2791" fmla="*/ 5539305 h 6858000"/>
              <a:gd name="connsiteX2792" fmla="*/ 0 w 5794893"/>
              <a:gd name="connsiteY2792" fmla="*/ 5501205 h 6858000"/>
              <a:gd name="connsiteX2793" fmla="*/ 60222 w 5794893"/>
              <a:gd name="connsiteY2793" fmla="*/ 5501205 h 6858000"/>
              <a:gd name="connsiteX2794" fmla="*/ 60222 w 5794893"/>
              <a:gd name="connsiteY2794" fmla="*/ 5347577 h 6858000"/>
              <a:gd name="connsiteX2795" fmla="*/ 0 w 5794893"/>
              <a:gd name="connsiteY2795" fmla="*/ 5347577 h 6858000"/>
              <a:gd name="connsiteX2796" fmla="*/ 0 w 5794893"/>
              <a:gd name="connsiteY2796" fmla="*/ 5313162 h 6858000"/>
              <a:gd name="connsiteX2797" fmla="*/ 60222 w 5794893"/>
              <a:gd name="connsiteY2797" fmla="*/ 5313162 h 6858000"/>
              <a:gd name="connsiteX2798" fmla="*/ 60222 w 5794893"/>
              <a:gd name="connsiteY2798" fmla="*/ 5160762 h 6858000"/>
              <a:gd name="connsiteX2799" fmla="*/ 0 w 5794893"/>
              <a:gd name="connsiteY2799" fmla="*/ 5160762 h 6858000"/>
              <a:gd name="connsiteX2800" fmla="*/ 0 w 5794893"/>
              <a:gd name="connsiteY2800" fmla="*/ 5118975 h 6858000"/>
              <a:gd name="connsiteX2801" fmla="*/ 60222 w 5794893"/>
              <a:gd name="connsiteY2801" fmla="*/ 5118975 h 6858000"/>
              <a:gd name="connsiteX2802" fmla="*/ 60222 w 5794893"/>
              <a:gd name="connsiteY2802" fmla="*/ 4966575 h 6858000"/>
              <a:gd name="connsiteX2803" fmla="*/ 0 w 5794893"/>
              <a:gd name="connsiteY2803" fmla="*/ 4966575 h 6858000"/>
              <a:gd name="connsiteX2804" fmla="*/ 0 w 5794893"/>
              <a:gd name="connsiteY2804" fmla="*/ 4926017 h 6858000"/>
              <a:gd name="connsiteX2805" fmla="*/ 60222 w 5794893"/>
              <a:gd name="connsiteY2805" fmla="*/ 4926017 h 6858000"/>
              <a:gd name="connsiteX2806" fmla="*/ 60222 w 5794893"/>
              <a:gd name="connsiteY2806" fmla="*/ 4772388 h 6858000"/>
              <a:gd name="connsiteX2807" fmla="*/ 0 w 5794893"/>
              <a:gd name="connsiteY2807" fmla="*/ 4772388 h 6858000"/>
              <a:gd name="connsiteX2808" fmla="*/ 0 w 5794893"/>
              <a:gd name="connsiteY2808" fmla="*/ 4731830 h 6858000"/>
              <a:gd name="connsiteX2809" fmla="*/ 60222 w 5794893"/>
              <a:gd name="connsiteY2809" fmla="*/ 4731830 h 6858000"/>
              <a:gd name="connsiteX2810" fmla="*/ 60222 w 5794893"/>
              <a:gd name="connsiteY2810" fmla="*/ 4579430 h 6858000"/>
              <a:gd name="connsiteX2811" fmla="*/ 0 w 5794893"/>
              <a:gd name="connsiteY2811" fmla="*/ 4579430 h 6858000"/>
              <a:gd name="connsiteX2812" fmla="*/ 0 w 5794893"/>
              <a:gd name="connsiteY2812" fmla="*/ 4537643 h 6858000"/>
              <a:gd name="connsiteX2813" fmla="*/ 60222 w 5794893"/>
              <a:gd name="connsiteY2813" fmla="*/ 4537643 h 6858000"/>
              <a:gd name="connsiteX2814" fmla="*/ 60222 w 5794893"/>
              <a:gd name="connsiteY2814" fmla="*/ 4385243 h 6858000"/>
              <a:gd name="connsiteX2815" fmla="*/ 0 w 5794893"/>
              <a:gd name="connsiteY2815" fmla="*/ 4385243 h 6858000"/>
              <a:gd name="connsiteX2816" fmla="*/ 0 w 5794893"/>
              <a:gd name="connsiteY2816" fmla="*/ 4343456 h 6858000"/>
              <a:gd name="connsiteX2817" fmla="*/ 60222 w 5794893"/>
              <a:gd name="connsiteY2817" fmla="*/ 4343456 h 6858000"/>
              <a:gd name="connsiteX2818" fmla="*/ 60222 w 5794893"/>
              <a:gd name="connsiteY2818" fmla="*/ 4191055 h 6858000"/>
              <a:gd name="connsiteX2819" fmla="*/ 0 w 5794893"/>
              <a:gd name="connsiteY2819" fmla="*/ 4191055 h 6858000"/>
              <a:gd name="connsiteX2820" fmla="*/ 0 w 5794893"/>
              <a:gd name="connsiteY2820" fmla="*/ 4149268 h 6858000"/>
              <a:gd name="connsiteX2821" fmla="*/ 60222 w 5794893"/>
              <a:gd name="connsiteY2821" fmla="*/ 4149268 h 6858000"/>
              <a:gd name="connsiteX2822" fmla="*/ 60222 w 5794893"/>
              <a:gd name="connsiteY2822" fmla="*/ 4145580 h 6858000"/>
              <a:gd name="connsiteX2823" fmla="*/ 60222 w 5794893"/>
              <a:gd name="connsiteY2823" fmla="*/ 3996868 h 6858000"/>
              <a:gd name="connsiteX2824" fmla="*/ 60222 w 5794893"/>
              <a:gd name="connsiteY2824" fmla="*/ 3993180 h 6858000"/>
              <a:gd name="connsiteX2825" fmla="*/ 0 w 5794893"/>
              <a:gd name="connsiteY2825" fmla="*/ 3993180 h 6858000"/>
              <a:gd name="connsiteX2826" fmla="*/ 0 w 5794893"/>
              <a:gd name="connsiteY2826" fmla="*/ 3953851 h 6858000"/>
              <a:gd name="connsiteX2827" fmla="*/ 60222 w 5794893"/>
              <a:gd name="connsiteY2827" fmla="*/ 3953851 h 6858000"/>
              <a:gd name="connsiteX2828" fmla="*/ 60222 w 5794893"/>
              <a:gd name="connsiteY2828" fmla="*/ 3800223 h 6858000"/>
              <a:gd name="connsiteX2829" fmla="*/ 0 w 5794893"/>
              <a:gd name="connsiteY2829" fmla="*/ 3800223 h 6858000"/>
              <a:gd name="connsiteX2830" fmla="*/ 0 w 5794893"/>
              <a:gd name="connsiteY2830" fmla="*/ 3762122 h 6858000"/>
              <a:gd name="connsiteX2831" fmla="*/ 60222 w 5794893"/>
              <a:gd name="connsiteY2831" fmla="*/ 3762122 h 6858000"/>
              <a:gd name="connsiteX2832" fmla="*/ 60222 w 5794893"/>
              <a:gd name="connsiteY2832" fmla="*/ 3608493 h 6858000"/>
              <a:gd name="connsiteX2833" fmla="*/ 0 w 5794893"/>
              <a:gd name="connsiteY2833" fmla="*/ 3608493 h 6858000"/>
              <a:gd name="connsiteX2834" fmla="*/ 0 w 5794893"/>
              <a:gd name="connsiteY2834" fmla="*/ 3574080 h 6858000"/>
              <a:gd name="connsiteX2835" fmla="*/ 60222 w 5794893"/>
              <a:gd name="connsiteY2835" fmla="*/ 3574080 h 6858000"/>
              <a:gd name="connsiteX2836" fmla="*/ 60222 w 5794893"/>
              <a:gd name="connsiteY2836" fmla="*/ 3420451 h 6858000"/>
              <a:gd name="connsiteX2837" fmla="*/ 0 w 5794893"/>
              <a:gd name="connsiteY2837" fmla="*/ 3420451 h 6858000"/>
              <a:gd name="connsiteX2838" fmla="*/ 0 w 5794893"/>
              <a:gd name="connsiteY2838" fmla="*/ 3379893 h 6858000"/>
              <a:gd name="connsiteX2839" fmla="*/ 60222 w 5794893"/>
              <a:gd name="connsiteY2839" fmla="*/ 3379893 h 6858000"/>
              <a:gd name="connsiteX2840" fmla="*/ 60222 w 5794893"/>
              <a:gd name="connsiteY2840" fmla="*/ 3226263 h 6858000"/>
              <a:gd name="connsiteX2841" fmla="*/ 0 w 5794893"/>
              <a:gd name="connsiteY2841" fmla="*/ 3226263 h 6858000"/>
              <a:gd name="connsiteX2842" fmla="*/ 0 w 5794893"/>
              <a:gd name="connsiteY2842" fmla="*/ 3185706 h 6858000"/>
              <a:gd name="connsiteX2843" fmla="*/ 60222 w 5794893"/>
              <a:gd name="connsiteY2843" fmla="*/ 3185706 h 6858000"/>
              <a:gd name="connsiteX2844" fmla="*/ 60222 w 5794893"/>
              <a:gd name="connsiteY2844" fmla="*/ 3032076 h 6858000"/>
              <a:gd name="connsiteX2845" fmla="*/ 0 w 5794893"/>
              <a:gd name="connsiteY2845" fmla="*/ 3032076 h 6858000"/>
              <a:gd name="connsiteX2846" fmla="*/ 0 w 5794893"/>
              <a:gd name="connsiteY2846" fmla="*/ 2990289 h 6858000"/>
              <a:gd name="connsiteX2847" fmla="*/ 60222 w 5794893"/>
              <a:gd name="connsiteY2847" fmla="*/ 2990289 h 6858000"/>
              <a:gd name="connsiteX2848" fmla="*/ 60222 w 5794893"/>
              <a:gd name="connsiteY2848" fmla="*/ 2836660 h 6858000"/>
              <a:gd name="connsiteX2849" fmla="*/ 0 w 5794893"/>
              <a:gd name="connsiteY2849" fmla="*/ 2836660 h 6858000"/>
              <a:gd name="connsiteX2850" fmla="*/ 0 w 5794893"/>
              <a:gd name="connsiteY2850" fmla="*/ 2794873 h 6858000"/>
              <a:gd name="connsiteX2851" fmla="*/ 60222 w 5794893"/>
              <a:gd name="connsiteY2851" fmla="*/ 2794873 h 6858000"/>
              <a:gd name="connsiteX2852" fmla="*/ 60222 w 5794893"/>
              <a:gd name="connsiteY2852" fmla="*/ 2641243 h 6858000"/>
              <a:gd name="connsiteX2853" fmla="*/ 0 w 5794893"/>
              <a:gd name="connsiteY2853" fmla="*/ 2641243 h 6858000"/>
              <a:gd name="connsiteX2854" fmla="*/ 0 w 5794893"/>
              <a:gd name="connsiteY2854" fmla="*/ 2600686 h 6858000"/>
              <a:gd name="connsiteX2855" fmla="*/ 60222 w 5794893"/>
              <a:gd name="connsiteY2855" fmla="*/ 2600686 h 6858000"/>
              <a:gd name="connsiteX2856" fmla="*/ 60222 w 5794893"/>
              <a:gd name="connsiteY2856" fmla="*/ 2447056 h 6858000"/>
              <a:gd name="connsiteX2857" fmla="*/ 0 w 5794893"/>
              <a:gd name="connsiteY2857" fmla="*/ 2447056 h 6858000"/>
              <a:gd name="connsiteX2858" fmla="*/ 0 w 5794893"/>
              <a:gd name="connsiteY2858" fmla="*/ 2406498 h 6858000"/>
              <a:gd name="connsiteX2859" fmla="*/ 60222 w 5794893"/>
              <a:gd name="connsiteY2859" fmla="*/ 2406498 h 6858000"/>
              <a:gd name="connsiteX2860" fmla="*/ 60222 w 5794893"/>
              <a:gd name="connsiteY2860" fmla="*/ 2254098 h 6858000"/>
              <a:gd name="connsiteX2861" fmla="*/ 0 w 5794893"/>
              <a:gd name="connsiteY2861" fmla="*/ 2254098 h 6858000"/>
              <a:gd name="connsiteX2862" fmla="*/ 0 w 5794893"/>
              <a:gd name="connsiteY2862" fmla="*/ 2217227 h 6858000"/>
              <a:gd name="connsiteX2863" fmla="*/ 60222 w 5794893"/>
              <a:gd name="connsiteY2863" fmla="*/ 2217227 h 6858000"/>
              <a:gd name="connsiteX2864" fmla="*/ 60222 w 5794893"/>
              <a:gd name="connsiteY2864" fmla="*/ 2068514 h 6858000"/>
              <a:gd name="connsiteX2865" fmla="*/ 0 w 5794893"/>
              <a:gd name="connsiteY2865" fmla="*/ 2068514 h 6858000"/>
              <a:gd name="connsiteX2866" fmla="*/ 0 w 5794893"/>
              <a:gd name="connsiteY2866" fmla="*/ 2031643 h 6858000"/>
              <a:gd name="connsiteX2867" fmla="*/ 60222 w 5794893"/>
              <a:gd name="connsiteY2867" fmla="*/ 2031643 h 6858000"/>
              <a:gd name="connsiteX2868" fmla="*/ 60222 w 5794893"/>
              <a:gd name="connsiteY2868" fmla="*/ 1878014 h 6858000"/>
              <a:gd name="connsiteX2869" fmla="*/ 0 w 5794893"/>
              <a:gd name="connsiteY2869" fmla="*/ 1878014 h 6858000"/>
              <a:gd name="connsiteX2870" fmla="*/ 0 w 5794893"/>
              <a:gd name="connsiteY2870" fmla="*/ 1838685 h 6858000"/>
              <a:gd name="connsiteX2871" fmla="*/ 60222 w 5794893"/>
              <a:gd name="connsiteY2871" fmla="*/ 1838685 h 6858000"/>
              <a:gd name="connsiteX2872" fmla="*/ 60222 w 5794893"/>
              <a:gd name="connsiteY2872" fmla="*/ 1685055 h 6858000"/>
              <a:gd name="connsiteX2873" fmla="*/ 0 w 5794893"/>
              <a:gd name="connsiteY2873" fmla="*/ 1685055 h 6858000"/>
              <a:gd name="connsiteX2874" fmla="*/ 0 w 5794893"/>
              <a:gd name="connsiteY2874" fmla="*/ 1645726 h 6858000"/>
              <a:gd name="connsiteX2875" fmla="*/ 60222 w 5794893"/>
              <a:gd name="connsiteY2875" fmla="*/ 1645726 h 6858000"/>
              <a:gd name="connsiteX2876" fmla="*/ 60222 w 5794893"/>
              <a:gd name="connsiteY2876" fmla="*/ 1492097 h 6858000"/>
              <a:gd name="connsiteX2877" fmla="*/ 0 w 5794893"/>
              <a:gd name="connsiteY2877" fmla="*/ 1492097 h 6858000"/>
              <a:gd name="connsiteX2878" fmla="*/ 0 w 5794893"/>
              <a:gd name="connsiteY2878" fmla="*/ 1453997 h 6858000"/>
              <a:gd name="connsiteX2879" fmla="*/ 60222 w 5794893"/>
              <a:gd name="connsiteY2879" fmla="*/ 1453997 h 6858000"/>
              <a:gd name="connsiteX2880" fmla="*/ 60222 w 5794893"/>
              <a:gd name="connsiteY2880" fmla="*/ 1300368 h 6858000"/>
              <a:gd name="connsiteX2881" fmla="*/ 0 w 5794893"/>
              <a:gd name="connsiteY2881" fmla="*/ 1300368 h 6858000"/>
              <a:gd name="connsiteX2882" fmla="*/ 0 w 5794893"/>
              <a:gd name="connsiteY2882" fmla="*/ 1265955 h 6858000"/>
              <a:gd name="connsiteX2883" fmla="*/ 60222 w 5794893"/>
              <a:gd name="connsiteY2883" fmla="*/ 1265955 h 6858000"/>
              <a:gd name="connsiteX2884" fmla="*/ 60222 w 5794893"/>
              <a:gd name="connsiteY2884" fmla="*/ 1112325 h 6858000"/>
              <a:gd name="connsiteX2885" fmla="*/ 0 w 5794893"/>
              <a:gd name="connsiteY2885" fmla="*/ 1112325 h 6858000"/>
              <a:gd name="connsiteX2886" fmla="*/ 0 w 5794893"/>
              <a:gd name="connsiteY2886" fmla="*/ 1071768 h 6858000"/>
              <a:gd name="connsiteX2887" fmla="*/ 60222 w 5794893"/>
              <a:gd name="connsiteY2887" fmla="*/ 1071768 h 6858000"/>
              <a:gd name="connsiteX2888" fmla="*/ 60222 w 5794893"/>
              <a:gd name="connsiteY2888" fmla="*/ 918138 h 6858000"/>
              <a:gd name="connsiteX2889" fmla="*/ 0 w 5794893"/>
              <a:gd name="connsiteY2889" fmla="*/ 918138 h 6858000"/>
              <a:gd name="connsiteX2890" fmla="*/ 0 w 5794893"/>
              <a:gd name="connsiteY2890" fmla="*/ 877581 h 6858000"/>
              <a:gd name="connsiteX2891" fmla="*/ 60222 w 5794893"/>
              <a:gd name="connsiteY2891" fmla="*/ 877581 h 6858000"/>
              <a:gd name="connsiteX2892" fmla="*/ 60222 w 5794893"/>
              <a:gd name="connsiteY2892" fmla="*/ 723951 h 6858000"/>
              <a:gd name="connsiteX2893" fmla="*/ 0 w 5794893"/>
              <a:gd name="connsiteY2893" fmla="*/ 723951 h 6858000"/>
              <a:gd name="connsiteX2894" fmla="*/ 0 w 5794893"/>
              <a:gd name="connsiteY2894" fmla="*/ 683393 h 6858000"/>
              <a:gd name="connsiteX2895" fmla="*/ 60222 w 5794893"/>
              <a:gd name="connsiteY2895" fmla="*/ 683393 h 6858000"/>
              <a:gd name="connsiteX2896" fmla="*/ 60222 w 5794893"/>
              <a:gd name="connsiteY2896" fmla="*/ 529763 h 6858000"/>
              <a:gd name="connsiteX2897" fmla="*/ 0 w 5794893"/>
              <a:gd name="connsiteY2897" fmla="*/ 529763 h 6858000"/>
              <a:gd name="connsiteX2898" fmla="*/ 0 w 5794893"/>
              <a:gd name="connsiteY2898" fmla="*/ 487976 h 6858000"/>
              <a:gd name="connsiteX2899" fmla="*/ 60222 w 5794893"/>
              <a:gd name="connsiteY2899" fmla="*/ 487976 h 6858000"/>
              <a:gd name="connsiteX2900" fmla="*/ 60222 w 5794893"/>
              <a:gd name="connsiteY2900" fmla="*/ 334348 h 6858000"/>
              <a:gd name="connsiteX2901" fmla="*/ 0 w 5794893"/>
              <a:gd name="connsiteY2901" fmla="*/ 334348 h 6858000"/>
              <a:gd name="connsiteX2902" fmla="*/ 0 w 5794893"/>
              <a:gd name="connsiteY2902" fmla="*/ 292561 h 6858000"/>
              <a:gd name="connsiteX2903" fmla="*/ 60222 w 5794893"/>
              <a:gd name="connsiteY2903" fmla="*/ 292561 h 6858000"/>
              <a:gd name="connsiteX2904" fmla="*/ 60222 w 5794893"/>
              <a:gd name="connsiteY2904" fmla="*/ 138931 h 6858000"/>
              <a:gd name="connsiteX2905" fmla="*/ 0 w 5794893"/>
              <a:gd name="connsiteY2905" fmla="*/ 138931 h 6858000"/>
              <a:gd name="connsiteX2906" fmla="*/ 0 w 5794893"/>
              <a:gd name="connsiteY2906" fmla="*/ 97144 h 6858000"/>
              <a:gd name="connsiteX2907" fmla="*/ 60222 w 5794893"/>
              <a:gd name="connsiteY2907" fmla="*/ 97144 h 6858000"/>
              <a:gd name="connsiteX2908" fmla="*/ 60222 w 5794893"/>
              <a:gd name="connsiteY2908" fmla="*/ 0 h 6858000"/>
              <a:gd name="connsiteX2909" fmla="*/ 179439 w 5794893"/>
              <a:gd name="connsiteY2909" fmla="*/ 137702 h 6858000"/>
              <a:gd name="connsiteX2910" fmla="*/ 120445 w 5794893"/>
              <a:gd name="connsiteY2910" fmla="*/ 142619 h 6858000"/>
              <a:gd name="connsiteX2911" fmla="*/ 129048 w 5794893"/>
              <a:gd name="connsiteY2911" fmla="*/ 291331 h 6858000"/>
              <a:gd name="connsiteX2912" fmla="*/ 189271 w 5794893"/>
              <a:gd name="connsiteY2912" fmla="*/ 286415 h 6858000"/>
              <a:gd name="connsiteX2913" fmla="*/ 179439 w 5794893"/>
              <a:gd name="connsiteY2913" fmla="*/ 137702 h 6858000"/>
              <a:gd name="connsiteX2914" fmla="*/ 296197 w 5794893"/>
              <a:gd name="connsiteY2914" fmla="*/ 137702 h 6858000"/>
              <a:gd name="connsiteX2915" fmla="*/ 240891 w 5794893"/>
              <a:gd name="connsiteY2915" fmla="*/ 147535 h 6858000"/>
              <a:gd name="connsiteX2916" fmla="*/ 259326 w 5794893"/>
              <a:gd name="connsiteY2916" fmla="*/ 291331 h 6858000"/>
              <a:gd name="connsiteX2917" fmla="*/ 315861 w 5794893"/>
              <a:gd name="connsiteY2917" fmla="*/ 281499 h 6858000"/>
              <a:gd name="connsiteX2918" fmla="*/ 296197 w 5794893"/>
              <a:gd name="connsiteY2918" fmla="*/ 137702 h 6858000"/>
              <a:gd name="connsiteX2919" fmla="*/ 415413 w 5794893"/>
              <a:gd name="connsiteY2919" fmla="*/ 137702 h 6858000"/>
              <a:gd name="connsiteX2920" fmla="*/ 360106 w 5794893"/>
              <a:gd name="connsiteY2920" fmla="*/ 152451 h 6858000"/>
              <a:gd name="connsiteX2921" fmla="*/ 389603 w 5794893"/>
              <a:gd name="connsiteY2921" fmla="*/ 291331 h 6858000"/>
              <a:gd name="connsiteX2922" fmla="*/ 444910 w 5794893"/>
              <a:gd name="connsiteY2922" fmla="*/ 276583 h 6858000"/>
              <a:gd name="connsiteX2923" fmla="*/ 415413 w 5794893"/>
              <a:gd name="connsiteY2923" fmla="*/ 137702 h 6858000"/>
              <a:gd name="connsiteX2924" fmla="*/ 532171 w 5794893"/>
              <a:gd name="connsiteY2924" fmla="*/ 137702 h 6858000"/>
              <a:gd name="connsiteX2925" fmla="*/ 479323 w 5794893"/>
              <a:gd name="connsiteY2925" fmla="*/ 157367 h 6858000"/>
              <a:gd name="connsiteX2926" fmla="*/ 518652 w 5794893"/>
              <a:gd name="connsiteY2926" fmla="*/ 291331 h 6858000"/>
              <a:gd name="connsiteX2927" fmla="*/ 571500 w 5794893"/>
              <a:gd name="connsiteY2927" fmla="*/ 271666 h 6858000"/>
              <a:gd name="connsiteX2928" fmla="*/ 532171 w 5794893"/>
              <a:gd name="connsiteY2928" fmla="*/ 137702 h 6858000"/>
              <a:gd name="connsiteX2929" fmla="*/ 651388 w 5794893"/>
              <a:gd name="connsiteY2929" fmla="*/ 137702 h 6858000"/>
              <a:gd name="connsiteX2930" fmla="*/ 599769 w 5794893"/>
              <a:gd name="connsiteY2930" fmla="*/ 162283 h 6858000"/>
              <a:gd name="connsiteX2931" fmla="*/ 648930 w 5794893"/>
              <a:gd name="connsiteY2931" fmla="*/ 291331 h 6858000"/>
              <a:gd name="connsiteX2932" fmla="*/ 699320 w 5794893"/>
              <a:gd name="connsiteY2932" fmla="*/ 266750 h 6858000"/>
              <a:gd name="connsiteX2933" fmla="*/ 651388 w 5794893"/>
              <a:gd name="connsiteY2933" fmla="*/ 137702 h 6858000"/>
              <a:gd name="connsiteX2934" fmla="*/ 768145 w 5794893"/>
              <a:gd name="connsiteY2934" fmla="*/ 137702 h 6858000"/>
              <a:gd name="connsiteX2935" fmla="*/ 720214 w 5794893"/>
              <a:gd name="connsiteY2935" fmla="*/ 168428 h 6858000"/>
              <a:gd name="connsiteX2936" fmla="*/ 777978 w 5794893"/>
              <a:gd name="connsiteY2936" fmla="*/ 291331 h 6858000"/>
              <a:gd name="connsiteX2937" fmla="*/ 827139 w 5794893"/>
              <a:gd name="connsiteY2937" fmla="*/ 261834 h 6858000"/>
              <a:gd name="connsiteX2938" fmla="*/ 768145 w 5794893"/>
              <a:gd name="connsiteY2938" fmla="*/ 137702 h 6858000"/>
              <a:gd name="connsiteX2939" fmla="*/ 1005350 w 5794893"/>
              <a:gd name="connsiteY2939" fmla="*/ 137702 h 6858000"/>
              <a:gd name="connsiteX2940" fmla="*/ 959875 w 5794893"/>
              <a:gd name="connsiteY2940" fmla="*/ 177031 h 6858000"/>
              <a:gd name="connsiteX2941" fmla="*/ 1037304 w 5794893"/>
              <a:gd name="connsiteY2941" fmla="*/ 290103 h 6858000"/>
              <a:gd name="connsiteX2942" fmla="*/ 1082778 w 5794893"/>
              <a:gd name="connsiteY2942" fmla="*/ 250773 h 6858000"/>
              <a:gd name="connsiteX2943" fmla="*/ 1005350 w 5794893"/>
              <a:gd name="connsiteY2943" fmla="*/ 137702 h 6858000"/>
              <a:gd name="connsiteX2944" fmla="*/ 1123337 w 5794893"/>
              <a:gd name="connsiteY2944" fmla="*/ 137702 h 6858000"/>
              <a:gd name="connsiteX2945" fmla="*/ 1080320 w 5794893"/>
              <a:gd name="connsiteY2945" fmla="*/ 183176 h 6858000"/>
              <a:gd name="connsiteX2946" fmla="*/ 1167582 w 5794893"/>
              <a:gd name="connsiteY2946" fmla="*/ 291331 h 6858000"/>
              <a:gd name="connsiteX2947" fmla="*/ 1210598 w 5794893"/>
              <a:gd name="connsiteY2947" fmla="*/ 245857 h 6858000"/>
              <a:gd name="connsiteX2948" fmla="*/ 1123337 w 5794893"/>
              <a:gd name="connsiteY2948" fmla="*/ 137702 h 6858000"/>
              <a:gd name="connsiteX2949" fmla="*/ 1241324 w 5794893"/>
              <a:gd name="connsiteY2949" fmla="*/ 137702 h 6858000"/>
              <a:gd name="connsiteX2950" fmla="*/ 1200765 w 5794893"/>
              <a:gd name="connsiteY2950" fmla="*/ 186864 h 6858000"/>
              <a:gd name="connsiteX2951" fmla="*/ 1297860 w 5794893"/>
              <a:gd name="connsiteY2951" fmla="*/ 291331 h 6858000"/>
              <a:gd name="connsiteX2952" fmla="*/ 1338417 w 5794893"/>
              <a:gd name="connsiteY2952" fmla="*/ 242170 h 6858000"/>
              <a:gd name="connsiteX2953" fmla="*/ 1241324 w 5794893"/>
              <a:gd name="connsiteY2953" fmla="*/ 137702 h 6858000"/>
              <a:gd name="connsiteX2954" fmla="*/ 1359311 w 5794893"/>
              <a:gd name="connsiteY2954" fmla="*/ 138931 h 6858000"/>
              <a:gd name="connsiteX2955" fmla="*/ 1319982 w 5794893"/>
              <a:gd name="connsiteY2955" fmla="*/ 193008 h 6858000"/>
              <a:gd name="connsiteX2956" fmla="*/ 1426908 w 5794893"/>
              <a:gd name="connsiteY2956" fmla="*/ 291331 h 6858000"/>
              <a:gd name="connsiteX2957" fmla="*/ 1466237 w 5794893"/>
              <a:gd name="connsiteY2957" fmla="*/ 237253 h 6858000"/>
              <a:gd name="connsiteX2958" fmla="*/ 1359311 w 5794893"/>
              <a:gd name="connsiteY2958" fmla="*/ 138931 h 6858000"/>
              <a:gd name="connsiteX2959" fmla="*/ 1477299 w 5794893"/>
              <a:gd name="connsiteY2959" fmla="*/ 138931 h 6858000"/>
              <a:gd name="connsiteX2960" fmla="*/ 1440428 w 5794893"/>
              <a:gd name="connsiteY2960" fmla="*/ 197924 h 6858000"/>
              <a:gd name="connsiteX2961" fmla="*/ 1557185 w 5794893"/>
              <a:gd name="connsiteY2961" fmla="*/ 291331 h 6858000"/>
              <a:gd name="connsiteX2962" fmla="*/ 1594056 w 5794893"/>
              <a:gd name="connsiteY2962" fmla="*/ 232337 h 6858000"/>
              <a:gd name="connsiteX2963" fmla="*/ 1477299 w 5794893"/>
              <a:gd name="connsiteY2963" fmla="*/ 138931 h 6858000"/>
              <a:gd name="connsiteX2964" fmla="*/ 887362 w 5794893"/>
              <a:gd name="connsiteY2964" fmla="*/ 138931 h 6858000"/>
              <a:gd name="connsiteX2965" fmla="*/ 840659 w 5794893"/>
              <a:gd name="connsiteY2965" fmla="*/ 173344 h 6858000"/>
              <a:gd name="connsiteX2966" fmla="*/ 908255 w 5794893"/>
              <a:gd name="connsiteY2966" fmla="*/ 291331 h 6858000"/>
              <a:gd name="connsiteX2967" fmla="*/ 954959 w 5794893"/>
              <a:gd name="connsiteY2967" fmla="*/ 258148 h 6858000"/>
              <a:gd name="connsiteX2968" fmla="*/ 887362 w 5794893"/>
              <a:gd name="connsiteY2968" fmla="*/ 138931 h 6858000"/>
              <a:gd name="connsiteX2969" fmla="*/ 179439 w 5794893"/>
              <a:gd name="connsiteY2969" fmla="*/ 331890 h 6858000"/>
              <a:gd name="connsiteX2970" fmla="*/ 120445 w 5794893"/>
              <a:gd name="connsiteY2970" fmla="*/ 336806 h 6858000"/>
              <a:gd name="connsiteX2971" fmla="*/ 129048 w 5794893"/>
              <a:gd name="connsiteY2971" fmla="*/ 485518 h 6858000"/>
              <a:gd name="connsiteX2972" fmla="*/ 189271 w 5794893"/>
              <a:gd name="connsiteY2972" fmla="*/ 480602 h 6858000"/>
              <a:gd name="connsiteX2973" fmla="*/ 179439 w 5794893"/>
              <a:gd name="connsiteY2973" fmla="*/ 331890 h 6858000"/>
              <a:gd name="connsiteX2974" fmla="*/ 296197 w 5794893"/>
              <a:gd name="connsiteY2974" fmla="*/ 331890 h 6858000"/>
              <a:gd name="connsiteX2975" fmla="*/ 239661 w 5794893"/>
              <a:gd name="connsiteY2975" fmla="*/ 341722 h 6858000"/>
              <a:gd name="connsiteX2976" fmla="*/ 259326 w 5794893"/>
              <a:gd name="connsiteY2976" fmla="*/ 485518 h 6858000"/>
              <a:gd name="connsiteX2977" fmla="*/ 315861 w 5794893"/>
              <a:gd name="connsiteY2977" fmla="*/ 475686 h 6858000"/>
              <a:gd name="connsiteX2978" fmla="*/ 296197 w 5794893"/>
              <a:gd name="connsiteY2978" fmla="*/ 331890 h 6858000"/>
              <a:gd name="connsiteX2979" fmla="*/ 415413 w 5794893"/>
              <a:gd name="connsiteY2979" fmla="*/ 331890 h 6858000"/>
              <a:gd name="connsiteX2980" fmla="*/ 360106 w 5794893"/>
              <a:gd name="connsiteY2980" fmla="*/ 346638 h 6858000"/>
              <a:gd name="connsiteX2981" fmla="*/ 389603 w 5794893"/>
              <a:gd name="connsiteY2981" fmla="*/ 485518 h 6858000"/>
              <a:gd name="connsiteX2982" fmla="*/ 444910 w 5794893"/>
              <a:gd name="connsiteY2982" fmla="*/ 470770 h 6858000"/>
              <a:gd name="connsiteX2983" fmla="*/ 415413 w 5794893"/>
              <a:gd name="connsiteY2983" fmla="*/ 331890 h 6858000"/>
              <a:gd name="connsiteX2984" fmla="*/ 532171 w 5794893"/>
              <a:gd name="connsiteY2984" fmla="*/ 331890 h 6858000"/>
              <a:gd name="connsiteX2985" fmla="*/ 479323 w 5794893"/>
              <a:gd name="connsiteY2985" fmla="*/ 351554 h 6858000"/>
              <a:gd name="connsiteX2986" fmla="*/ 518652 w 5794893"/>
              <a:gd name="connsiteY2986" fmla="*/ 485518 h 6858000"/>
              <a:gd name="connsiteX2987" fmla="*/ 571500 w 5794893"/>
              <a:gd name="connsiteY2987" fmla="*/ 465854 h 6858000"/>
              <a:gd name="connsiteX2988" fmla="*/ 532171 w 5794893"/>
              <a:gd name="connsiteY2988" fmla="*/ 331890 h 6858000"/>
              <a:gd name="connsiteX2989" fmla="*/ 651388 w 5794893"/>
              <a:gd name="connsiteY2989" fmla="*/ 331890 h 6858000"/>
              <a:gd name="connsiteX2990" fmla="*/ 599769 w 5794893"/>
              <a:gd name="connsiteY2990" fmla="*/ 356470 h 6858000"/>
              <a:gd name="connsiteX2991" fmla="*/ 648930 w 5794893"/>
              <a:gd name="connsiteY2991" fmla="*/ 485518 h 6858000"/>
              <a:gd name="connsiteX2992" fmla="*/ 699320 w 5794893"/>
              <a:gd name="connsiteY2992" fmla="*/ 460938 h 6858000"/>
              <a:gd name="connsiteX2993" fmla="*/ 651388 w 5794893"/>
              <a:gd name="connsiteY2993" fmla="*/ 331890 h 6858000"/>
              <a:gd name="connsiteX2994" fmla="*/ 768145 w 5794893"/>
              <a:gd name="connsiteY2994" fmla="*/ 331890 h 6858000"/>
              <a:gd name="connsiteX2995" fmla="*/ 720214 w 5794893"/>
              <a:gd name="connsiteY2995" fmla="*/ 361387 h 6858000"/>
              <a:gd name="connsiteX2996" fmla="*/ 777978 w 5794893"/>
              <a:gd name="connsiteY2996" fmla="*/ 484290 h 6858000"/>
              <a:gd name="connsiteX2997" fmla="*/ 827139 w 5794893"/>
              <a:gd name="connsiteY2997" fmla="*/ 454793 h 6858000"/>
              <a:gd name="connsiteX2998" fmla="*/ 768145 w 5794893"/>
              <a:gd name="connsiteY2998" fmla="*/ 331890 h 6858000"/>
              <a:gd name="connsiteX2999" fmla="*/ 1005350 w 5794893"/>
              <a:gd name="connsiteY2999" fmla="*/ 331890 h 6858000"/>
              <a:gd name="connsiteX3000" fmla="*/ 959875 w 5794893"/>
              <a:gd name="connsiteY3000" fmla="*/ 372447 h 6858000"/>
              <a:gd name="connsiteX3001" fmla="*/ 1037304 w 5794893"/>
              <a:gd name="connsiteY3001" fmla="*/ 485518 h 6858000"/>
              <a:gd name="connsiteX3002" fmla="*/ 1082778 w 5794893"/>
              <a:gd name="connsiteY3002" fmla="*/ 446189 h 6858000"/>
              <a:gd name="connsiteX3003" fmla="*/ 1005350 w 5794893"/>
              <a:gd name="connsiteY3003" fmla="*/ 331890 h 6858000"/>
              <a:gd name="connsiteX3004" fmla="*/ 1123337 w 5794893"/>
              <a:gd name="connsiteY3004" fmla="*/ 333118 h 6858000"/>
              <a:gd name="connsiteX3005" fmla="*/ 1080320 w 5794893"/>
              <a:gd name="connsiteY3005" fmla="*/ 377363 h 6858000"/>
              <a:gd name="connsiteX3006" fmla="*/ 1167582 w 5794893"/>
              <a:gd name="connsiteY3006" fmla="*/ 485518 h 6858000"/>
              <a:gd name="connsiteX3007" fmla="*/ 1210598 w 5794893"/>
              <a:gd name="connsiteY3007" fmla="*/ 441273 h 6858000"/>
              <a:gd name="connsiteX3008" fmla="*/ 1123337 w 5794893"/>
              <a:gd name="connsiteY3008" fmla="*/ 333118 h 6858000"/>
              <a:gd name="connsiteX3009" fmla="*/ 1240094 w 5794893"/>
              <a:gd name="connsiteY3009" fmla="*/ 333118 h 6858000"/>
              <a:gd name="connsiteX3010" fmla="*/ 1199537 w 5794893"/>
              <a:gd name="connsiteY3010" fmla="*/ 382279 h 6858000"/>
              <a:gd name="connsiteX3011" fmla="*/ 1296630 w 5794893"/>
              <a:gd name="connsiteY3011" fmla="*/ 485518 h 6858000"/>
              <a:gd name="connsiteX3012" fmla="*/ 1338417 w 5794893"/>
              <a:gd name="connsiteY3012" fmla="*/ 436357 h 6858000"/>
              <a:gd name="connsiteX3013" fmla="*/ 1240094 w 5794893"/>
              <a:gd name="connsiteY3013" fmla="*/ 333118 h 6858000"/>
              <a:gd name="connsiteX3014" fmla="*/ 1359311 w 5794893"/>
              <a:gd name="connsiteY3014" fmla="*/ 333118 h 6858000"/>
              <a:gd name="connsiteX3015" fmla="*/ 1319982 w 5794893"/>
              <a:gd name="connsiteY3015" fmla="*/ 387196 h 6858000"/>
              <a:gd name="connsiteX3016" fmla="*/ 1426908 w 5794893"/>
              <a:gd name="connsiteY3016" fmla="*/ 485518 h 6858000"/>
              <a:gd name="connsiteX3017" fmla="*/ 1466237 w 5794893"/>
              <a:gd name="connsiteY3017" fmla="*/ 431441 h 6858000"/>
              <a:gd name="connsiteX3018" fmla="*/ 1359311 w 5794893"/>
              <a:gd name="connsiteY3018" fmla="*/ 333118 h 6858000"/>
              <a:gd name="connsiteX3019" fmla="*/ 1477299 w 5794893"/>
              <a:gd name="connsiteY3019" fmla="*/ 333118 h 6858000"/>
              <a:gd name="connsiteX3020" fmla="*/ 1440428 w 5794893"/>
              <a:gd name="connsiteY3020" fmla="*/ 392112 h 6858000"/>
              <a:gd name="connsiteX3021" fmla="*/ 1557185 w 5794893"/>
              <a:gd name="connsiteY3021" fmla="*/ 485518 h 6858000"/>
              <a:gd name="connsiteX3022" fmla="*/ 1594056 w 5794893"/>
              <a:gd name="connsiteY3022" fmla="*/ 426525 h 6858000"/>
              <a:gd name="connsiteX3023" fmla="*/ 1477299 w 5794893"/>
              <a:gd name="connsiteY3023" fmla="*/ 333118 h 6858000"/>
              <a:gd name="connsiteX3024" fmla="*/ 887362 w 5794893"/>
              <a:gd name="connsiteY3024" fmla="*/ 333118 h 6858000"/>
              <a:gd name="connsiteX3025" fmla="*/ 840659 w 5794893"/>
              <a:gd name="connsiteY3025" fmla="*/ 367531 h 6858000"/>
              <a:gd name="connsiteX3026" fmla="*/ 908255 w 5794893"/>
              <a:gd name="connsiteY3026" fmla="*/ 485518 h 6858000"/>
              <a:gd name="connsiteX3027" fmla="*/ 954959 w 5794893"/>
              <a:gd name="connsiteY3027" fmla="*/ 452335 h 6858000"/>
              <a:gd name="connsiteX3028" fmla="*/ 887362 w 5794893"/>
              <a:gd name="connsiteY3028" fmla="*/ 333118 h 6858000"/>
              <a:gd name="connsiteX3029" fmla="*/ 415413 w 5794893"/>
              <a:gd name="connsiteY3029" fmla="*/ 526077 h 6858000"/>
              <a:gd name="connsiteX3030" fmla="*/ 360106 w 5794893"/>
              <a:gd name="connsiteY3030" fmla="*/ 540825 h 6858000"/>
              <a:gd name="connsiteX3031" fmla="*/ 389603 w 5794893"/>
              <a:gd name="connsiteY3031" fmla="*/ 679706 h 6858000"/>
              <a:gd name="connsiteX3032" fmla="*/ 444910 w 5794893"/>
              <a:gd name="connsiteY3032" fmla="*/ 664957 h 6858000"/>
              <a:gd name="connsiteX3033" fmla="*/ 415413 w 5794893"/>
              <a:gd name="connsiteY3033" fmla="*/ 526077 h 6858000"/>
              <a:gd name="connsiteX3034" fmla="*/ 651388 w 5794893"/>
              <a:gd name="connsiteY3034" fmla="*/ 526077 h 6858000"/>
              <a:gd name="connsiteX3035" fmla="*/ 599769 w 5794893"/>
              <a:gd name="connsiteY3035" fmla="*/ 550658 h 6858000"/>
              <a:gd name="connsiteX3036" fmla="*/ 648930 w 5794893"/>
              <a:gd name="connsiteY3036" fmla="*/ 679706 h 6858000"/>
              <a:gd name="connsiteX3037" fmla="*/ 699320 w 5794893"/>
              <a:gd name="connsiteY3037" fmla="*/ 655125 h 6858000"/>
              <a:gd name="connsiteX3038" fmla="*/ 651388 w 5794893"/>
              <a:gd name="connsiteY3038" fmla="*/ 526077 h 6858000"/>
              <a:gd name="connsiteX3039" fmla="*/ 887362 w 5794893"/>
              <a:gd name="connsiteY3039" fmla="*/ 526077 h 6858000"/>
              <a:gd name="connsiteX3040" fmla="*/ 840659 w 5794893"/>
              <a:gd name="connsiteY3040" fmla="*/ 560490 h 6858000"/>
              <a:gd name="connsiteX3041" fmla="*/ 908255 w 5794893"/>
              <a:gd name="connsiteY3041" fmla="*/ 679706 h 6858000"/>
              <a:gd name="connsiteX3042" fmla="*/ 954959 w 5794893"/>
              <a:gd name="connsiteY3042" fmla="*/ 644064 h 6858000"/>
              <a:gd name="connsiteX3043" fmla="*/ 887362 w 5794893"/>
              <a:gd name="connsiteY3043" fmla="*/ 526077 h 6858000"/>
              <a:gd name="connsiteX3044" fmla="*/ 1477299 w 5794893"/>
              <a:gd name="connsiteY3044" fmla="*/ 526077 h 6858000"/>
              <a:gd name="connsiteX3045" fmla="*/ 1440428 w 5794893"/>
              <a:gd name="connsiteY3045" fmla="*/ 585071 h 6858000"/>
              <a:gd name="connsiteX3046" fmla="*/ 1557185 w 5794893"/>
              <a:gd name="connsiteY3046" fmla="*/ 679706 h 6858000"/>
              <a:gd name="connsiteX3047" fmla="*/ 1594056 w 5794893"/>
              <a:gd name="connsiteY3047" fmla="*/ 620712 h 6858000"/>
              <a:gd name="connsiteX3048" fmla="*/ 1477299 w 5794893"/>
              <a:gd name="connsiteY3048" fmla="*/ 526077 h 6858000"/>
              <a:gd name="connsiteX3049" fmla="*/ 1005350 w 5794893"/>
              <a:gd name="connsiteY3049" fmla="*/ 527305 h 6858000"/>
              <a:gd name="connsiteX3050" fmla="*/ 959875 w 5794893"/>
              <a:gd name="connsiteY3050" fmla="*/ 565406 h 6858000"/>
              <a:gd name="connsiteX3051" fmla="*/ 1037304 w 5794893"/>
              <a:gd name="connsiteY3051" fmla="*/ 679706 h 6858000"/>
              <a:gd name="connsiteX3052" fmla="*/ 1082778 w 5794893"/>
              <a:gd name="connsiteY3052" fmla="*/ 640377 h 6858000"/>
              <a:gd name="connsiteX3053" fmla="*/ 1005350 w 5794893"/>
              <a:gd name="connsiteY3053" fmla="*/ 527305 h 6858000"/>
              <a:gd name="connsiteX3054" fmla="*/ 1123337 w 5794893"/>
              <a:gd name="connsiteY3054" fmla="*/ 527305 h 6858000"/>
              <a:gd name="connsiteX3055" fmla="*/ 1080320 w 5794893"/>
              <a:gd name="connsiteY3055" fmla="*/ 571551 h 6858000"/>
              <a:gd name="connsiteX3056" fmla="*/ 1167582 w 5794893"/>
              <a:gd name="connsiteY3056" fmla="*/ 679706 h 6858000"/>
              <a:gd name="connsiteX3057" fmla="*/ 1210598 w 5794893"/>
              <a:gd name="connsiteY3057" fmla="*/ 635460 h 6858000"/>
              <a:gd name="connsiteX3058" fmla="*/ 1123337 w 5794893"/>
              <a:gd name="connsiteY3058" fmla="*/ 527305 h 6858000"/>
              <a:gd name="connsiteX3059" fmla="*/ 1241324 w 5794893"/>
              <a:gd name="connsiteY3059" fmla="*/ 527305 h 6858000"/>
              <a:gd name="connsiteX3060" fmla="*/ 1200765 w 5794893"/>
              <a:gd name="connsiteY3060" fmla="*/ 576467 h 6858000"/>
              <a:gd name="connsiteX3061" fmla="*/ 1297860 w 5794893"/>
              <a:gd name="connsiteY3061" fmla="*/ 680935 h 6858000"/>
              <a:gd name="connsiteX3062" fmla="*/ 1338417 w 5794893"/>
              <a:gd name="connsiteY3062" fmla="*/ 631774 h 6858000"/>
              <a:gd name="connsiteX3063" fmla="*/ 1241324 w 5794893"/>
              <a:gd name="connsiteY3063" fmla="*/ 527305 h 6858000"/>
              <a:gd name="connsiteX3064" fmla="*/ 1359311 w 5794893"/>
              <a:gd name="connsiteY3064" fmla="*/ 527305 h 6858000"/>
              <a:gd name="connsiteX3065" fmla="*/ 1319982 w 5794893"/>
              <a:gd name="connsiteY3065" fmla="*/ 581383 h 6858000"/>
              <a:gd name="connsiteX3066" fmla="*/ 1426908 w 5794893"/>
              <a:gd name="connsiteY3066" fmla="*/ 679706 h 6858000"/>
              <a:gd name="connsiteX3067" fmla="*/ 1466237 w 5794893"/>
              <a:gd name="connsiteY3067" fmla="*/ 625628 h 6858000"/>
              <a:gd name="connsiteX3068" fmla="*/ 1359311 w 5794893"/>
              <a:gd name="connsiteY3068" fmla="*/ 527305 h 6858000"/>
              <a:gd name="connsiteX3069" fmla="*/ 768145 w 5794893"/>
              <a:gd name="connsiteY3069" fmla="*/ 527305 h 6858000"/>
              <a:gd name="connsiteX3070" fmla="*/ 720214 w 5794893"/>
              <a:gd name="connsiteY3070" fmla="*/ 556802 h 6858000"/>
              <a:gd name="connsiteX3071" fmla="*/ 777978 w 5794893"/>
              <a:gd name="connsiteY3071" fmla="*/ 680935 h 6858000"/>
              <a:gd name="connsiteX3072" fmla="*/ 827139 w 5794893"/>
              <a:gd name="connsiteY3072" fmla="*/ 651438 h 6858000"/>
              <a:gd name="connsiteX3073" fmla="*/ 768145 w 5794893"/>
              <a:gd name="connsiteY3073" fmla="*/ 527305 h 6858000"/>
              <a:gd name="connsiteX3074" fmla="*/ 532171 w 5794893"/>
              <a:gd name="connsiteY3074" fmla="*/ 527305 h 6858000"/>
              <a:gd name="connsiteX3075" fmla="*/ 479323 w 5794893"/>
              <a:gd name="connsiteY3075" fmla="*/ 546970 h 6858000"/>
              <a:gd name="connsiteX3076" fmla="*/ 518652 w 5794893"/>
              <a:gd name="connsiteY3076" fmla="*/ 679706 h 6858000"/>
              <a:gd name="connsiteX3077" fmla="*/ 571500 w 5794893"/>
              <a:gd name="connsiteY3077" fmla="*/ 661271 h 6858000"/>
              <a:gd name="connsiteX3078" fmla="*/ 532171 w 5794893"/>
              <a:gd name="connsiteY3078" fmla="*/ 527305 h 6858000"/>
              <a:gd name="connsiteX3079" fmla="*/ 179439 w 5794893"/>
              <a:gd name="connsiteY3079" fmla="*/ 527305 h 6858000"/>
              <a:gd name="connsiteX3080" fmla="*/ 120445 w 5794893"/>
              <a:gd name="connsiteY3080" fmla="*/ 532222 h 6858000"/>
              <a:gd name="connsiteX3081" fmla="*/ 129048 w 5794893"/>
              <a:gd name="connsiteY3081" fmla="*/ 679706 h 6858000"/>
              <a:gd name="connsiteX3082" fmla="*/ 189271 w 5794893"/>
              <a:gd name="connsiteY3082" fmla="*/ 676019 h 6858000"/>
              <a:gd name="connsiteX3083" fmla="*/ 179439 w 5794893"/>
              <a:gd name="connsiteY3083" fmla="*/ 527305 h 6858000"/>
              <a:gd name="connsiteX3084" fmla="*/ 296197 w 5794893"/>
              <a:gd name="connsiteY3084" fmla="*/ 527305 h 6858000"/>
              <a:gd name="connsiteX3085" fmla="*/ 239661 w 5794893"/>
              <a:gd name="connsiteY3085" fmla="*/ 537138 h 6858000"/>
              <a:gd name="connsiteX3086" fmla="*/ 259326 w 5794893"/>
              <a:gd name="connsiteY3086" fmla="*/ 680935 h 6858000"/>
              <a:gd name="connsiteX3087" fmla="*/ 315861 w 5794893"/>
              <a:gd name="connsiteY3087" fmla="*/ 671103 h 6858000"/>
              <a:gd name="connsiteX3088" fmla="*/ 296197 w 5794893"/>
              <a:gd name="connsiteY3088" fmla="*/ 527305 h 6858000"/>
              <a:gd name="connsiteX3089" fmla="*/ 179439 w 5794893"/>
              <a:gd name="connsiteY3089" fmla="*/ 721493 h 6858000"/>
              <a:gd name="connsiteX3090" fmla="*/ 120445 w 5794893"/>
              <a:gd name="connsiteY3090" fmla="*/ 726409 h 6858000"/>
              <a:gd name="connsiteX3091" fmla="*/ 129048 w 5794893"/>
              <a:gd name="connsiteY3091" fmla="*/ 875123 h 6858000"/>
              <a:gd name="connsiteX3092" fmla="*/ 189271 w 5794893"/>
              <a:gd name="connsiteY3092" fmla="*/ 870206 h 6858000"/>
              <a:gd name="connsiteX3093" fmla="*/ 179439 w 5794893"/>
              <a:gd name="connsiteY3093" fmla="*/ 721493 h 6858000"/>
              <a:gd name="connsiteX3094" fmla="*/ 296197 w 5794893"/>
              <a:gd name="connsiteY3094" fmla="*/ 721493 h 6858000"/>
              <a:gd name="connsiteX3095" fmla="*/ 239661 w 5794893"/>
              <a:gd name="connsiteY3095" fmla="*/ 731325 h 6858000"/>
              <a:gd name="connsiteX3096" fmla="*/ 259326 w 5794893"/>
              <a:gd name="connsiteY3096" fmla="*/ 875123 h 6858000"/>
              <a:gd name="connsiteX3097" fmla="*/ 315861 w 5794893"/>
              <a:gd name="connsiteY3097" fmla="*/ 865290 h 6858000"/>
              <a:gd name="connsiteX3098" fmla="*/ 296197 w 5794893"/>
              <a:gd name="connsiteY3098" fmla="*/ 721493 h 6858000"/>
              <a:gd name="connsiteX3099" fmla="*/ 415413 w 5794893"/>
              <a:gd name="connsiteY3099" fmla="*/ 721493 h 6858000"/>
              <a:gd name="connsiteX3100" fmla="*/ 360106 w 5794893"/>
              <a:gd name="connsiteY3100" fmla="*/ 736241 h 6858000"/>
              <a:gd name="connsiteX3101" fmla="*/ 389603 w 5794893"/>
              <a:gd name="connsiteY3101" fmla="*/ 875123 h 6858000"/>
              <a:gd name="connsiteX3102" fmla="*/ 444910 w 5794893"/>
              <a:gd name="connsiteY3102" fmla="*/ 860374 h 6858000"/>
              <a:gd name="connsiteX3103" fmla="*/ 415413 w 5794893"/>
              <a:gd name="connsiteY3103" fmla="*/ 721493 h 6858000"/>
              <a:gd name="connsiteX3104" fmla="*/ 532171 w 5794893"/>
              <a:gd name="connsiteY3104" fmla="*/ 721493 h 6858000"/>
              <a:gd name="connsiteX3105" fmla="*/ 479323 w 5794893"/>
              <a:gd name="connsiteY3105" fmla="*/ 741157 h 6858000"/>
              <a:gd name="connsiteX3106" fmla="*/ 518652 w 5794893"/>
              <a:gd name="connsiteY3106" fmla="*/ 875123 h 6858000"/>
              <a:gd name="connsiteX3107" fmla="*/ 571500 w 5794893"/>
              <a:gd name="connsiteY3107" fmla="*/ 855458 h 6858000"/>
              <a:gd name="connsiteX3108" fmla="*/ 532171 w 5794893"/>
              <a:gd name="connsiteY3108" fmla="*/ 721493 h 6858000"/>
              <a:gd name="connsiteX3109" fmla="*/ 651388 w 5794893"/>
              <a:gd name="connsiteY3109" fmla="*/ 721493 h 6858000"/>
              <a:gd name="connsiteX3110" fmla="*/ 599769 w 5794893"/>
              <a:gd name="connsiteY3110" fmla="*/ 746073 h 6858000"/>
              <a:gd name="connsiteX3111" fmla="*/ 648930 w 5794893"/>
              <a:gd name="connsiteY3111" fmla="*/ 875123 h 6858000"/>
              <a:gd name="connsiteX3112" fmla="*/ 699320 w 5794893"/>
              <a:gd name="connsiteY3112" fmla="*/ 850542 h 6858000"/>
              <a:gd name="connsiteX3113" fmla="*/ 651388 w 5794893"/>
              <a:gd name="connsiteY3113" fmla="*/ 721493 h 6858000"/>
              <a:gd name="connsiteX3114" fmla="*/ 769375 w 5794893"/>
              <a:gd name="connsiteY3114" fmla="*/ 721493 h 6858000"/>
              <a:gd name="connsiteX3115" fmla="*/ 721442 w 5794893"/>
              <a:gd name="connsiteY3115" fmla="*/ 750990 h 6858000"/>
              <a:gd name="connsiteX3116" fmla="*/ 779207 w 5794893"/>
              <a:gd name="connsiteY3116" fmla="*/ 875123 h 6858000"/>
              <a:gd name="connsiteX3117" fmla="*/ 828369 w 5794893"/>
              <a:gd name="connsiteY3117" fmla="*/ 845626 h 6858000"/>
              <a:gd name="connsiteX3118" fmla="*/ 769375 w 5794893"/>
              <a:gd name="connsiteY3118" fmla="*/ 721493 h 6858000"/>
              <a:gd name="connsiteX3119" fmla="*/ 887362 w 5794893"/>
              <a:gd name="connsiteY3119" fmla="*/ 721493 h 6858000"/>
              <a:gd name="connsiteX3120" fmla="*/ 840659 w 5794893"/>
              <a:gd name="connsiteY3120" fmla="*/ 755906 h 6858000"/>
              <a:gd name="connsiteX3121" fmla="*/ 908255 w 5794893"/>
              <a:gd name="connsiteY3121" fmla="*/ 875123 h 6858000"/>
              <a:gd name="connsiteX3122" fmla="*/ 954959 w 5794893"/>
              <a:gd name="connsiteY3122" fmla="*/ 840710 h 6858000"/>
              <a:gd name="connsiteX3123" fmla="*/ 887362 w 5794893"/>
              <a:gd name="connsiteY3123" fmla="*/ 721493 h 6858000"/>
              <a:gd name="connsiteX3124" fmla="*/ 1005350 w 5794893"/>
              <a:gd name="connsiteY3124" fmla="*/ 721493 h 6858000"/>
              <a:gd name="connsiteX3125" fmla="*/ 959875 w 5794893"/>
              <a:gd name="connsiteY3125" fmla="*/ 760822 h 6858000"/>
              <a:gd name="connsiteX3126" fmla="*/ 1037304 w 5794893"/>
              <a:gd name="connsiteY3126" fmla="*/ 873893 h 6858000"/>
              <a:gd name="connsiteX3127" fmla="*/ 1082778 w 5794893"/>
              <a:gd name="connsiteY3127" fmla="*/ 834564 h 6858000"/>
              <a:gd name="connsiteX3128" fmla="*/ 1005350 w 5794893"/>
              <a:gd name="connsiteY3128" fmla="*/ 721493 h 6858000"/>
              <a:gd name="connsiteX3129" fmla="*/ 1123337 w 5794893"/>
              <a:gd name="connsiteY3129" fmla="*/ 721493 h 6858000"/>
              <a:gd name="connsiteX3130" fmla="*/ 1080320 w 5794893"/>
              <a:gd name="connsiteY3130" fmla="*/ 765738 h 6858000"/>
              <a:gd name="connsiteX3131" fmla="*/ 1167582 w 5794893"/>
              <a:gd name="connsiteY3131" fmla="*/ 875123 h 6858000"/>
              <a:gd name="connsiteX3132" fmla="*/ 1210598 w 5794893"/>
              <a:gd name="connsiteY3132" fmla="*/ 829648 h 6858000"/>
              <a:gd name="connsiteX3133" fmla="*/ 1123337 w 5794893"/>
              <a:gd name="connsiteY3133" fmla="*/ 721493 h 6858000"/>
              <a:gd name="connsiteX3134" fmla="*/ 1241324 w 5794893"/>
              <a:gd name="connsiteY3134" fmla="*/ 721493 h 6858000"/>
              <a:gd name="connsiteX3135" fmla="*/ 1200765 w 5794893"/>
              <a:gd name="connsiteY3135" fmla="*/ 770654 h 6858000"/>
              <a:gd name="connsiteX3136" fmla="*/ 1297860 w 5794893"/>
              <a:gd name="connsiteY3136" fmla="*/ 875123 h 6858000"/>
              <a:gd name="connsiteX3137" fmla="*/ 1338417 w 5794893"/>
              <a:gd name="connsiteY3137" fmla="*/ 825961 h 6858000"/>
              <a:gd name="connsiteX3138" fmla="*/ 1241324 w 5794893"/>
              <a:gd name="connsiteY3138" fmla="*/ 721493 h 6858000"/>
              <a:gd name="connsiteX3139" fmla="*/ 1477299 w 5794893"/>
              <a:gd name="connsiteY3139" fmla="*/ 721493 h 6858000"/>
              <a:gd name="connsiteX3140" fmla="*/ 1440428 w 5794893"/>
              <a:gd name="connsiteY3140" fmla="*/ 780486 h 6858000"/>
              <a:gd name="connsiteX3141" fmla="*/ 1557185 w 5794893"/>
              <a:gd name="connsiteY3141" fmla="*/ 873893 h 6858000"/>
              <a:gd name="connsiteX3142" fmla="*/ 1594056 w 5794893"/>
              <a:gd name="connsiteY3142" fmla="*/ 814899 h 6858000"/>
              <a:gd name="connsiteX3143" fmla="*/ 1477299 w 5794893"/>
              <a:gd name="connsiteY3143" fmla="*/ 721493 h 6858000"/>
              <a:gd name="connsiteX3144" fmla="*/ 1359311 w 5794893"/>
              <a:gd name="connsiteY3144" fmla="*/ 722722 h 6858000"/>
              <a:gd name="connsiteX3145" fmla="*/ 1319982 w 5794893"/>
              <a:gd name="connsiteY3145" fmla="*/ 776800 h 6858000"/>
              <a:gd name="connsiteX3146" fmla="*/ 1426908 w 5794893"/>
              <a:gd name="connsiteY3146" fmla="*/ 876351 h 6858000"/>
              <a:gd name="connsiteX3147" fmla="*/ 1466237 w 5794893"/>
              <a:gd name="connsiteY3147" fmla="*/ 821045 h 6858000"/>
              <a:gd name="connsiteX3148" fmla="*/ 1359311 w 5794893"/>
              <a:gd name="connsiteY3148" fmla="*/ 722722 h 6858000"/>
              <a:gd name="connsiteX3149" fmla="*/ 179439 w 5794893"/>
              <a:gd name="connsiteY3149" fmla="*/ 915680 h 6858000"/>
              <a:gd name="connsiteX3150" fmla="*/ 120445 w 5794893"/>
              <a:gd name="connsiteY3150" fmla="*/ 920596 h 6858000"/>
              <a:gd name="connsiteX3151" fmla="*/ 129048 w 5794893"/>
              <a:gd name="connsiteY3151" fmla="*/ 1069310 h 6858000"/>
              <a:gd name="connsiteX3152" fmla="*/ 189271 w 5794893"/>
              <a:gd name="connsiteY3152" fmla="*/ 1064394 h 6858000"/>
              <a:gd name="connsiteX3153" fmla="*/ 179439 w 5794893"/>
              <a:gd name="connsiteY3153" fmla="*/ 915680 h 6858000"/>
              <a:gd name="connsiteX3154" fmla="*/ 296197 w 5794893"/>
              <a:gd name="connsiteY3154" fmla="*/ 915680 h 6858000"/>
              <a:gd name="connsiteX3155" fmla="*/ 239661 w 5794893"/>
              <a:gd name="connsiteY3155" fmla="*/ 925512 h 6858000"/>
              <a:gd name="connsiteX3156" fmla="*/ 259326 w 5794893"/>
              <a:gd name="connsiteY3156" fmla="*/ 1069310 h 6858000"/>
              <a:gd name="connsiteX3157" fmla="*/ 315861 w 5794893"/>
              <a:gd name="connsiteY3157" fmla="*/ 1059478 h 6858000"/>
              <a:gd name="connsiteX3158" fmla="*/ 296197 w 5794893"/>
              <a:gd name="connsiteY3158" fmla="*/ 915680 h 6858000"/>
              <a:gd name="connsiteX3159" fmla="*/ 415413 w 5794893"/>
              <a:gd name="connsiteY3159" fmla="*/ 915680 h 6858000"/>
              <a:gd name="connsiteX3160" fmla="*/ 360106 w 5794893"/>
              <a:gd name="connsiteY3160" fmla="*/ 930428 h 6858000"/>
              <a:gd name="connsiteX3161" fmla="*/ 389603 w 5794893"/>
              <a:gd name="connsiteY3161" fmla="*/ 1069310 h 6858000"/>
              <a:gd name="connsiteX3162" fmla="*/ 444910 w 5794893"/>
              <a:gd name="connsiteY3162" fmla="*/ 1054561 h 6858000"/>
              <a:gd name="connsiteX3163" fmla="*/ 415413 w 5794893"/>
              <a:gd name="connsiteY3163" fmla="*/ 915680 h 6858000"/>
              <a:gd name="connsiteX3164" fmla="*/ 532171 w 5794893"/>
              <a:gd name="connsiteY3164" fmla="*/ 915680 h 6858000"/>
              <a:gd name="connsiteX3165" fmla="*/ 479323 w 5794893"/>
              <a:gd name="connsiteY3165" fmla="*/ 935345 h 6858000"/>
              <a:gd name="connsiteX3166" fmla="*/ 518652 w 5794893"/>
              <a:gd name="connsiteY3166" fmla="*/ 1069310 h 6858000"/>
              <a:gd name="connsiteX3167" fmla="*/ 571500 w 5794893"/>
              <a:gd name="connsiteY3167" fmla="*/ 1049645 h 6858000"/>
              <a:gd name="connsiteX3168" fmla="*/ 532171 w 5794893"/>
              <a:gd name="connsiteY3168" fmla="*/ 915680 h 6858000"/>
              <a:gd name="connsiteX3169" fmla="*/ 651388 w 5794893"/>
              <a:gd name="connsiteY3169" fmla="*/ 915680 h 6858000"/>
              <a:gd name="connsiteX3170" fmla="*/ 599769 w 5794893"/>
              <a:gd name="connsiteY3170" fmla="*/ 940261 h 6858000"/>
              <a:gd name="connsiteX3171" fmla="*/ 648930 w 5794893"/>
              <a:gd name="connsiteY3171" fmla="*/ 1069310 h 6858000"/>
              <a:gd name="connsiteX3172" fmla="*/ 699320 w 5794893"/>
              <a:gd name="connsiteY3172" fmla="*/ 1044729 h 6858000"/>
              <a:gd name="connsiteX3173" fmla="*/ 651388 w 5794893"/>
              <a:gd name="connsiteY3173" fmla="*/ 915680 h 6858000"/>
              <a:gd name="connsiteX3174" fmla="*/ 768145 w 5794893"/>
              <a:gd name="connsiteY3174" fmla="*/ 915680 h 6858000"/>
              <a:gd name="connsiteX3175" fmla="*/ 720214 w 5794893"/>
              <a:gd name="connsiteY3175" fmla="*/ 945177 h 6858000"/>
              <a:gd name="connsiteX3176" fmla="*/ 777978 w 5794893"/>
              <a:gd name="connsiteY3176" fmla="*/ 1068080 h 6858000"/>
              <a:gd name="connsiteX3177" fmla="*/ 827139 w 5794893"/>
              <a:gd name="connsiteY3177" fmla="*/ 1038583 h 6858000"/>
              <a:gd name="connsiteX3178" fmla="*/ 768145 w 5794893"/>
              <a:gd name="connsiteY3178" fmla="*/ 915680 h 6858000"/>
              <a:gd name="connsiteX3179" fmla="*/ 887362 w 5794893"/>
              <a:gd name="connsiteY3179" fmla="*/ 915680 h 6858000"/>
              <a:gd name="connsiteX3180" fmla="*/ 840659 w 5794893"/>
              <a:gd name="connsiteY3180" fmla="*/ 950093 h 6858000"/>
              <a:gd name="connsiteX3181" fmla="*/ 908255 w 5794893"/>
              <a:gd name="connsiteY3181" fmla="*/ 1069310 h 6858000"/>
              <a:gd name="connsiteX3182" fmla="*/ 954959 w 5794893"/>
              <a:gd name="connsiteY3182" fmla="*/ 1034897 h 6858000"/>
              <a:gd name="connsiteX3183" fmla="*/ 887362 w 5794893"/>
              <a:gd name="connsiteY3183" fmla="*/ 915680 h 6858000"/>
              <a:gd name="connsiteX3184" fmla="*/ 1005350 w 5794893"/>
              <a:gd name="connsiteY3184" fmla="*/ 915680 h 6858000"/>
              <a:gd name="connsiteX3185" fmla="*/ 959875 w 5794893"/>
              <a:gd name="connsiteY3185" fmla="*/ 955009 h 6858000"/>
              <a:gd name="connsiteX3186" fmla="*/ 1037304 w 5794893"/>
              <a:gd name="connsiteY3186" fmla="*/ 1068080 h 6858000"/>
              <a:gd name="connsiteX3187" fmla="*/ 1082778 w 5794893"/>
              <a:gd name="connsiteY3187" fmla="*/ 1028751 h 6858000"/>
              <a:gd name="connsiteX3188" fmla="*/ 1005350 w 5794893"/>
              <a:gd name="connsiteY3188" fmla="*/ 915680 h 6858000"/>
              <a:gd name="connsiteX3189" fmla="*/ 1241324 w 5794893"/>
              <a:gd name="connsiteY3189" fmla="*/ 915680 h 6858000"/>
              <a:gd name="connsiteX3190" fmla="*/ 1200765 w 5794893"/>
              <a:gd name="connsiteY3190" fmla="*/ 964841 h 6858000"/>
              <a:gd name="connsiteX3191" fmla="*/ 1297860 w 5794893"/>
              <a:gd name="connsiteY3191" fmla="*/ 1069310 h 6858000"/>
              <a:gd name="connsiteX3192" fmla="*/ 1338417 w 5794893"/>
              <a:gd name="connsiteY3192" fmla="*/ 1020149 h 6858000"/>
              <a:gd name="connsiteX3193" fmla="*/ 1241324 w 5794893"/>
              <a:gd name="connsiteY3193" fmla="*/ 915680 h 6858000"/>
              <a:gd name="connsiteX3194" fmla="*/ 1477299 w 5794893"/>
              <a:gd name="connsiteY3194" fmla="*/ 915680 h 6858000"/>
              <a:gd name="connsiteX3195" fmla="*/ 1440428 w 5794893"/>
              <a:gd name="connsiteY3195" fmla="*/ 974674 h 6858000"/>
              <a:gd name="connsiteX3196" fmla="*/ 1557185 w 5794893"/>
              <a:gd name="connsiteY3196" fmla="*/ 1068080 h 6858000"/>
              <a:gd name="connsiteX3197" fmla="*/ 1594056 w 5794893"/>
              <a:gd name="connsiteY3197" fmla="*/ 1009087 h 6858000"/>
              <a:gd name="connsiteX3198" fmla="*/ 1477299 w 5794893"/>
              <a:gd name="connsiteY3198" fmla="*/ 915680 h 6858000"/>
              <a:gd name="connsiteX3199" fmla="*/ 1359311 w 5794893"/>
              <a:gd name="connsiteY3199" fmla="*/ 916910 h 6858000"/>
              <a:gd name="connsiteX3200" fmla="*/ 1319982 w 5794893"/>
              <a:gd name="connsiteY3200" fmla="*/ 970987 h 6858000"/>
              <a:gd name="connsiteX3201" fmla="*/ 1426908 w 5794893"/>
              <a:gd name="connsiteY3201" fmla="*/ 1069310 h 6858000"/>
              <a:gd name="connsiteX3202" fmla="*/ 1466237 w 5794893"/>
              <a:gd name="connsiteY3202" fmla="*/ 1015232 h 6858000"/>
              <a:gd name="connsiteX3203" fmla="*/ 1359311 w 5794893"/>
              <a:gd name="connsiteY3203" fmla="*/ 916910 h 6858000"/>
              <a:gd name="connsiteX3204" fmla="*/ 1123337 w 5794893"/>
              <a:gd name="connsiteY3204" fmla="*/ 916910 h 6858000"/>
              <a:gd name="connsiteX3205" fmla="*/ 1080320 w 5794893"/>
              <a:gd name="connsiteY3205" fmla="*/ 961155 h 6858000"/>
              <a:gd name="connsiteX3206" fmla="*/ 1167582 w 5794893"/>
              <a:gd name="connsiteY3206" fmla="*/ 1069310 h 6858000"/>
              <a:gd name="connsiteX3207" fmla="*/ 1210598 w 5794893"/>
              <a:gd name="connsiteY3207" fmla="*/ 1025065 h 6858000"/>
              <a:gd name="connsiteX3208" fmla="*/ 1123337 w 5794893"/>
              <a:gd name="connsiteY3208" fmla="*/ 916910 h 6858000"/>
              <a:gd name="connsiteX3209" fmla="*/ 179439 w 5794893"/>
              <a:gd name="connsiteY3209" fmla="*/ 1109867 h 6858000"/>
              <a:gd name="connsiteX3210" fmla="*/ 120445 w 5794893"/>
              <a:gd name="connsiteY3210" fmla="*/ 1114783 h 6858000"/>
              <a:gd name="connsiteX3211" fmla="*/ 129048 w 5794893"/>
              <a:gd name="connsiteY3211" fmla="*/ 1263497 h 6858000"/>
              <a:gd name="connsiteX3212" fmla="*/ 189271 w 5794893"/>
              <a:gd name="connsiteY3212" fmla="*/ 1258581 h 6858000"/>
              <a:gd name="connsiteX3213" fmla="*/ 179439 w 5794893"/>
              <a:gd name="connsiteY3213" fmla="*/ 1109867 h 6858000"/>
              <a:gd name="connsiteX3214" fmla="*/ 296197 w 5794893"/>
              <a:gd name="connsiteY3214" fmla="*/ 1109867 h 6858000"/>
              <a:gd name="connsiteX3215" fmla="*/ 239661 w 5794893"/>
              <a:gd name="connsiteY3215" fmla="*/ 1119700 h 6858000"/>
              <a:gd name="connsiteX3216" fmla="*/ 259326 w 5794893"/>
              <a:gd name="connsiteY3216" fmla="*/ 1263497 h 6858000"/>
              <a:gd name="connsiteX3217" fmla="*/ 315861 w 5794893"/>
              <a:gd name="connsiteY3217" fmla="*/ 1253665 h 6858000"/>
              <a:gd name="connsiteX3218" fmla="*/ 296197 w 5794893"/>
              <a:gd name="connsiteY3218" fmla="*/ 1109867 h 6858000"/>
              <a:gd name="connsiteX3219" fmla="*/ 415413 w 5794893"/>
              <a:gd name="connsiteY3219" fmla="*/ 1109867 h 6858000"/>
              <a:gd name="connsiteX3220" fmla="*/ 360106 w 5794893"/>
              <a:gd name="connsiteY3220" fmla="*/ 1124616 h 6858000"/>
              <a:gd name="connsiteX3221" fmla="*/ 389603 w 5794893"/>
              <a:gd name="connsiteY3221" fmla="*/ 1263497 h 6858000"/>
              <a:gd name="connsiteX3222" fmla="*/ 444910 w 5794893"/>
              <a:gd name="connsiteY3222" fmla="*/ 1248749 h 6858000"/>
              <a:gd name="connsiteX3223" fmla="*/ 415413 w 5794893"/>
              <a:gd name="connsiteY3223" fmla="*/ 1109867 h 6858000"/>
              <a:gd name="connsiteX3224" fmla="*/ 532171 w 5794893"/>
              <a:gd name="connsiteY3224" fmla="*/ 1109867 h 6858000"/>
              <a:gd name="connsiteX3225" fmla="*/ 479323 w 5794893"/>
              <a:gd name="connsiteY3225" fmla="*/ 1129532 h 6858000"/>
              <a:gd name="connsiteX3226" fmla="*/ 518652 w 5794893"/>
              <a:gd name="connsiteY3226" fmla="*/ 1263497 h 6858000"/>
              <a:gd name="connsiteX3227" fmla="*/ 571500 w 5794893"/>
              <a:gd name="connsiteY3227" fmla="*/ 1243833 h 6858000"/>
              <a:gd name="connsiteX3228" fmla="*/ 532171 w 5794893"/>
              <a:gd name="connsiteY3228" fmla="*/ 1109867 h 6858000"/>
              <a:gd name="connsiteX3229" fmla="*/ 651388 w 5794893"/>
              <a:gd name="connsiteY3229" fmla="*/ 1109867 h 6858000"/>
              <a:gd name="connsiteX3230" fmla="*/ 599769 w 5794893"/>
              <a:gd name="connsiteY3230" fmla="*/ 1135678 h 6858000"/>
              <a:gd name="connsiteX3231" fmla="*/ 648930 w 5794893"/>
              <a:gd name="connsiteY3231" fmla="*/ 1264726 h 6858000"/>
              <a:gd name="connsiteX3232" fmla="*/ 699320 w 5794893"/>
              <a:gd name="connsiteY3232" fmla="*/ 1238917 h 6858000"/>
              <a:gd name="connsiteX3233" fmla="*/ 651388 w 5794893"/>
              <a:gd name="connsiteY3233" fmla="*/ 1109867 h 6858000"/>
              <a:gd name="connsiteX3234" fmla="*/ 768145 w 5794893"/>
              <a:gd name="connsiteY3234" fmla="*/ 1109867 h 6858000"/>
              <a:gd name="connsiteX3235" fmla="*/ 720214 w 5794893"/>
              <a:gd name="connsiteY3235" fmla="*/ 1138136 h 6858000"/>
              <a:gd name="connsiteX3236" fmla="*/ 777978 w 5794893"/>
              <a:gd name="connsiteY3236" fmla="*/ 1262268 h 6858000"/>
              <a:gd name="connsiteX3237" fmla="*/ 827139 w 5794893"/>
              <a:gd name="connsiteY3237" fmla="*/ 1232771 h 6858000"/>
              <a:gd name="connsiteX3238" fmla="*/ 768145 w 5794893"/>
              <a:gd name="connsiteY3238" fmla="*/ 1109867 h 6858000"/>
              <a:gd name="connsiteX3239" fmla="*/ 887362 w 5794893"/>
              <a:gd name="connsiteY3239" fmla="*/ 1109867 h 6858000"/>
              <a:gd name="connsiteX3240" fmla="*/ 840659 w 5794893"/>
              <a:gd name="connsiteY3240" fmla="*/ 1144280 h 6858000"/>
              <a:gd name="connsiteX3241" fmla="*/ 908255 w 5794893"/>
              <a:gd name="connsiteY3241" fmla="*/ 1263497 h 6858000"/>
              <a:gd name="connsiteX3242" fmla="*/ 954959 w 5794893"/>
              <a:gd name="connsiteY3242" fmla="*/ 1229084 h 6858000"/>
              <a:gd name="connsiteX3243" fmla="*/ 887362 w 5794893"/>
              <a:gd name="connsiteY3243" fmla="*/ 1109867 h 6858000"/>
              <a:gd name="connsiteX3244" fmla="*/ 1005350 w 5794893"/>
              <a:gd name="connsiteY3244" fmla="*/ 1109867 h 6858000"/>
              <a:gd name="connsiteX3245" fmla="*/ 959875 w 5794893"/>
              <a:gd name="connsiteY3245" fmla="*/ 1150426 h 6858000"/>
              <a:gd name="connsiteX3246" fmla="*/ 1037304 w 5794893"/>
              <a:gd name="connsiteY3246" fmla="*/ 1263497 h 6858000"/>
              <a:gd name="connsiteX3247" fmla="*/ 1082778 w 5794893"/>
              <a:gd name="connsiteY3247" fmla="*/ 1224168 h 6858000"/>
              <a:gd name="connsiteX3248" fmla="*/ 1005350 w 5794893"/>
              <a:gd name="connsiteY3248" fmla="*/ 1109867 h 6858000"/>
              <a:gd name="connsiteX3249" fmla="*/ 1123337 w 5794893"/>
              <a:gd name="connsiteY3249" fmla="*/ 1109867 h 6858000"/>
              <a:gd name="connsiteX3250" fmla="*/ 1080320 w 5794893"/>
              <a:gd name="connsiteY3250" fmla="*/ 1154113 h 6858000"/>
              <a:gd name="connsiteX3251" fmla="*/ 1167582 w 5794893"/>
              <a:gd name="connsiteY3251" fmla="*/ 1263497 h 6858000"/>
              <a:gd name="connsiteX3252" fmla="*/ 1210598 w 5794893"/>
              <a:gd name="connsiteY3252" fmla="*/ 1219252 h 6858000"/>
              <a:gd name="connsiteX3253" fmla="*/ 1123337 w 5794893"/>
              <a:gd name="connsiteY3253" fmla="*/ 1109867 h 6858000"/>
              <a:gd name="connsiteX3254" fmla="*/ 1241324 w 5794893"/>
              <a:gd name="connsiteY3254" fmla="*/ 1109867 h 6858000"/>
              <a:gd name="connsiteX3255" fmla="*/ 1199537 w 5794893"/>
              <a:gd name="connsiteY3255" fmla="*/ 1160258 h 6858000"/>
              <a:gd name="connsiteX3256" fmla="*/ 1297860 w 5794893"/>
              <a:gd name="connsiteY3256" fmla="*/ 1263497 h 6858000"/>
              <a:gd name="connsiteX3257" fmla="*/ 1338417 w 5794893"/>
              <a:gd name="connsiteY3257" fmla="*/ 1214336 h 6858000"/>
              <a:gd name="connsiteX3258" fmla="*/ 1241324 w 5794893"/>
              <a:gd name="connsiteY3258" fmla="*/ 1109867 h 6858000"/>
              <a:gd name="connsiteX3259" fmla="*/ 1359311 w 5794893"/>
              <a:gd name="connsiteY3259" fmla="*/ 1111097 h 6858000"/>
              <a:gd name="connsiteX3260" fmla="*/ 1319982 w 5794893"/>
              <a:gd name="connsiteY3260" fmla="*/ 1165175 h 6858000"/>
              <a:gd name="connsiteX3261" fmla="*/ 1426908 w 5794893"/>
              <a:gd name="connsiteY3261" fmla="*/ 1263497 h 6858000"/>
              <a:gd name="connsiteX3262" fmla="*/ 1466237 w 5794893"/>
              <a:gd name="connsiteY3262" fmla="*/ 1209420 h 6858000"/>
              <a:gd name="connsiteX3263" fmla="*/ 1359311 w 5794893"/>
              <a:gd name="connsiteY3263" fmla="*/ 1111097 h 6858000"/>
              <a:gd name="connsiteX3264" fmla="*/ 1476069 w 5794893"/>
              <a:gd name="connsiteY3264" fmla="*/ 1111097 h 6858000"/>
              <a:gd name="connsiteX3265" fmla="*/ 1439198 w 5794893"/>
              <a:gd name="connsiteY3265" fmla="*/ 1170091 h 6858000"/>
              <a:gd name="connsiteX3266" fmla="*/ 1555957 w 5794893"/>
              <a:gd name="connsiteY3266" fmla="*/ 1263497 h 6858000"/>
              <a:gd name="connsiteX3267" fmla="*/ 1592828 w 5794893"/>
              <a:gd name="connsiteY3267" fmla="*/ 1204504 h 6858000"/>
              <a:gd name="connsiteX3268" fmla="*/ 1476069 w 5794893"/>
              <a:gd name="connsiteY3268" fmla="*/ 1111097 h 6858000"/>
              <a:gd name="connsiteX3269" fmla="*/ 769375 w 5794893"/>
              <a:gd name="connsiteY3269" fmla="*/ 1296680 h 6858000"/>
              <a:gd name="connsiteX3270" fmla="*/ 720214 w 5794893"/>
              <a:gd name="connsiteY3270" fmla="*/ 1327407 h 6858000"/>
              <a:gd name="connsiteX3271" fmla="*/ 777978 w 5794893"/>
              <a:gd name="connsiteY3271" fmla="*/ 1450310 h 6858000"/>
              <a:gd name="connsiteX3272" fmla="*/ 827139 w 5794893"/>
              <a:gd name="connsiteY3272" fmla="*/ 1420814 h 6858000"/>
              <a:gd name="connsiteX3273" fmla="*/ 769375 w 5794893"/>
              <a:gd name="connsiteY3273" fmla="*/ 1296680 h 6858000"/>
              <a:gd name="connsiteX3274" fmla="*/ 1123337 w 5794893"/>
              <a:gd name="connsiteY3274" fmla="*/ 1296680 h 6858000"/>
              <a:gd name="connsiteX3275" fmla="*/ 1080320 w 5794893"/>
              <a:gd name="connsiteY3275" fmla="*/ 1342155 h 6858000"/>
              <a:gd name="connsiteX3276" fmla="*/ 1167582 w 5794893"/>
              <a:gd name="connsiteY3276" fmla="*/ 1450310 h 6858000"/>
              <a:gd name="connsiteX3277" fmla="*/ 1210598 w 5794893"/>
              <a:gd name="connsiteY3277" fmla="*/ 1406065 h 6858000"/>
              <a:gd name="connsiteX3278" fmla="*/ 1123337 w 5794893"/>
              <a:gd name="connsiteY3278" fmla="*/ 1296680 h 6858000"/>
              <a:gd name="connsiteX3279" fmla="*/ 1359311 w 5794893"/>
              <a:gd name="connsiteY3279" fmla="*/ 1297910 h 6858000"/>
              <a:gd name="connsiteX3280" fmla="*/ 1319982 w 5794893"/>
              <a:gd name="connsiteY3280" fmla="*/ 1351988 h 6858000"/>
              <a:gd name="connsiteX3281" fmla="*/ 1426908 w 5794893"/>
              <a:gd name="connsiteY3281" fmla="*/ 1450310 h 6858000"/>
              <a:gd name="connsiteX3282" fmla="*/ 1466237 w 5794893"/>
              <a:gd name="connsiteY3282" fmla="*/ 1396233 h 6858000"/>
              <a:gd name="connsiteX3283" fmla="*/ 1359311 w 5794893"/>
              <a:gd name="connsiteY3283" fmla="*/ 1297910 h 6858000"/>
              <a:gd name="connsiteX3284" fmla="*/ 1242552 w 5794893"/>
              <a:gd name="connsiteY3284" fmla="*/ 1299139 h 6858000"/>
              <a:gd name="connsiteX3285" fmla="*/ 1200765 w 5794893"/>
              <a:gd name="connsiteY3285" fmla="*/ 1348300 h 6858000"/>
              <a:gd name="connsiteX3286" fmla="*/ 1297860 w 5794893"/>
              <a:gd name="connsiteY3286" fmla="*/ 1451539 h 6858000"/>
              <a:gd name="connsiteX3287" fmla="*/ 1338417 w 5794893"/>
              <a:gd name="connsiteY3287" fmla="*/ 1402377 h 6858000"/>
              <a:gd name="connsiteX3288" fmla="*/ 1242552 w 5794893"/>
              <a:gd name="connsiteY3288" fmla="*/ 1299139 h 6858000"/>
              <a:gd name="connsiteX3289" fmla="*/ 1005350 w 5794893"/>
              <a:gd name="connsiteY3289" fmla="*/ 1297910 h 6858000"/>
              <a:gd name="connsiteX3290" fmla="*/ 959875 w 5794893"/>
              <a:gd name="connsiteY3290" fmla="*/ 1338468 h 6858000"/>
              <a:gd name="connsiteX3291" fmla="*/ 1037304 w 5794893"/>
              <a:gd name="connsiteY3291" fmla="*/ 1451539 h 6858000"/>
              <a:gd name="connsiteX3292" fmla="*/ 1082778 w 5794893"/>
              <a:gd name="connsiteY3292" fmla="*/ 1412210 h 6858000"/>
              <a:gd name="connsiteX3293" fmla="*/ 1005350 w 5794893"/>
              <a:gd name="connsiteY3293" fmla="*/ 1297910 h 6858000"/>
              <a:gd name="connsiteX3294" fmla="*/ 887362 w 5794893"/>
              <a:gd name="connsiteY3294" fmla="*/ 1299139 h 6858000"/>
              <a:gd name="connsiteX3295" fmla="*/ 840659 w 5794893"/>
              <a:gd name="connsiteY3295" fmla="*/ 1333551 h 6858000"/>
              <a:gd name="connsiteX3296" fmla="*/ 908255 w 5794893"/>
              <a:gd name="connsiteY3296" fmla="*/ 1451539 h 6858000"/>
              <a:gd name="connsiteX3297" fmla="*/ 954959 w 5794893"/>
              <a:gd name="connsiteY3297" fmla="*/ 1418355 h 6858000"/>
              <a:gd name="connsiteX3298" fmla="*/ 887362 w 5794893"/>
              <a:gd name="connsiteY3298" fmla="*/ 1299139 h 6858000"/>
              <a:gd name="connsiteX3299" fmla="*/ 178209 w 5794893"/>
              <a:gd name="connsiteY3299" fmla="*/ 1297910 h 6858000"/>
              <a:gd name="connsiteX3300" fmla="*/ 119216 w 5794893"/>
              <a:gd name="connsiteY3300" fmla="*/ 1302826 h 6858000"/>
              <a:gd name="connsiteX3301" fmla="*/ 129048 w 5794893"/>
              <a:gd name="connsiteY3301" fmla="*/ 1451539 h 6858000"/>
              <a:gd name="connsiteX3302" fmla="*/ 188042 w 5794893"/>
              <a:gd name="connsiteY3302" fmla="*/ 1446623 h 6858000"/>
              <a:gd name="connsiteX3303" fmla="*/ 178209 w 5794893"/>
              <a:gd name="connsiteY3303" fmla="*/ 1297910 h 6858000"/>
              <a:gd name="connsiteX3304" fmla="*/ 296197 w 5794893"/>
              <a:gd name="connsiteY3304" fmla="*/ 1297910 h 6858000"/>
              <a:gd name="connsiteX3305" fmla="*/ 239661 w 5794893"/>
              <a:gd name="connsiteY3305" fmla="*/ 1307742 h 6858000"/>
              <a:gd name="connsiteX3306" fmla="*/ 259326 w 5794893"/>
              <a:gd name="connsiteY3306" fmla="*/ 1451539 h 6858000"/>
              <a:gd name="connsiteX3307" fmla="*/ 315861 w 5794893"/>
              <a:gd name="connsiteY3307" fmla="*/ 1441706 h 6858000"/>
              <a:gd name="connsiteX3308" fmla="*/ 296197 w 5794893"/>
              <a:gd name="connsiteY3308" fmla="*/ 1297910 h 6858000"/>
              <a:gd name="connsiteX3309" fmla="*/ 415413 w 5794893"/>
              <a:gd name="connsiteY3309" fmla="*/ 1297910 h 6858000"/>
              <a:gd name="connsiteX3310" fmla="*/ 360106 w 5794893"/>
              <a:gd name="connsiteY3310" fmla="*/ 1312659 h 6858000"/>
              <a:gd name="connsiteX3311" fmla="*/ 389603 w 5794893"/>
              <a:gd name="connsiteY3311" fmla="*/ 1451539 h 6858000"/>
              <a:gd name="connsiteX3312" fmla="*/ 444910 w 5794893"/>
              <a:gd name="connsiteY3312" fmla="*/ 1436790 h 6858000"/>
              <a:gd name="connsiteX3313" fmla="*/ 415413 w 5794893"/>
              <a:gd name="connsiteY3313" fmla="*/ 1297910 h 6858000"/>
              <a:gd name="connsiteX3314" fmla="*/ 532171 w 5794893"/>
              <a:gd name="connsiteY3314" fmla="*/ 1297910 h 6858000"/>
              <a:gd name="connsiteX3315" fmla="*/ 479323 w 5794893"/>
              <a:gd name="connsiteY3315" fmla="*/ 1317575 h 6858000"/>
              <a:gd name="connsiteX3316" fmla="*/ 518652 w 5794893"/>
              <a:gd name="connsiteY3316" fmla="*/ 1451539 h 6858000"/>
              <a:gd name="connsiteX3317" fmla="*/ 571500 w 5794893"/>
              <a:gd name="connsiteY3317" fmla="*/ 1431874 h 6858000"/>
              <a:gd name="connsiteX3318" fmla="*/ 532171 w 5794893"/>
              <a:gd name="connsiteY3318" fmla="*/ 1297910 h 6858000"/>
              <a:gd name="connsiteX3319" fmla="*/ 651388 w 5794893"/>
              <a:gd name="connsiteY3319" fmla="*/ 1297910 h 6858000"/>
              <a:gd name="connsiteX3320" fmla="*/ 599769 w 5794893"/>
              <a:gd name="connsiteY3320" fmla="*/ 1322491 h 6858000"/>
              <a:gd name="connsiteX3321" fmla="*/ 648930 w 5794893"/>
              <a:gd name="connsiteY3321" fmla="*/ 1451539 h 6858000"/>
              <a:gd name="connsiteX3322" fmla="*/ 699320 w 5794893"/>
              <a:gd name="connsiteY3322" fmla="*/ 1426958 h 6858000"/>
              <a:gd name="connsiteX3323" fmla="*/ 651388 w 5794893"/>
              <a:gd name="connsiteY3323" fmla="*/ 1297910 h 6858000"/>
              <a:gd name="connsiteX3324" fmla="*/ 178209 w 5794893"/>
              <a:gd name="connsiteY3324" fmla="*/ 1488410 h 6858000"/>
              <a:gd name="connsiteX3325" fmla="*/ 119216 w 5794893"/>
              <a:gd name="connsiteY3325" fmla="*/ 1493326 h 6858000"/>
              <a:gd name="connsiteX3326" fmla="*/ 129048 w 5794893"/>
              <a:gd name="connsiteY3326" fmla="*/ 1642040 h 6858000"/>
              <a:gd name="connsiteX3327" fmla="*/ 188042 w 5794893"/>
              <a:gd name="connsiteY3327" fmla="*/ 1637123 h 6858000"/>
              <a:gd name="connsiteX3328" fmla="*/ 178209 w 5794893"/>
              <a:gd name="connsiteY3328" fmla="*/ 1488410 h 6858000"/>
              <a:gd name="connsiteX3329" fmla="*/ 651388 w 5794893"/>
              <a:gd name="connsiteY3329" fmla="*/ 1488410 h 6858000"/>
              <a:gd name="connsiteX3330" fmla="*/ 599769 w 5794893"/>
              <a:gd name="connsiteY3330" fmla="*/ 1512990 h 6858000"/>
              <a:gd name="connsiteX3331" fmla="*/ 648930 w 5794893"/>
              <a:gd name="connsiteY3331" fmla="*/ 1642040 h 6858000"/>
              <a:gd name="connsiteX3332" fmla="*/ 699320 w 5794893"/>
              <a:gd name="connsiteY3332" fmla="*/ 1617459 h 6858000"/>
              <a:gd name="connsiteX3333" fmla="*/ 651388 w 5794893"/>
              <a:gd name="connsiteY3333" fmla="*/ 1488410 h 6858000"/>
              <a:gd name="connsiteX3334" fmla="*/ 887362 w 5794893"/>
              <a:gd name="connsiteY3334" fmla="*/ 1488410 h 6858000"/>
              <a:gd name="connsiteX3335" fmla="*/ 840659 w 5794893"/>
              <a:gd name="connsiteY3335" fmla="*/ 1522823 h 6858000"/>
              <a:gd name="connsiteX3336" fmla="*/ 908255 w 5794893"/>
              <a:gd name="connsiteY3336" fmla="*/ 1642040 h 6858000"/>
              <a:gd name="connsiteX3337" fmla="*/ 954959 w 5794893"/>
              <a:gd name="connsiteY3337" fmla="*/ 1607627 h 6858000"/>
              <a:gd name="connsiteX3338" fmla="*/ 887362 w 5794893"/>
              <a:gd name="connsiteY3338" fmla="*/ 1488410 h 6858000"/>
              <a:gd name="connsiteX3339" fmla="*/ 1242552 w 5794893"/>
              <a:gd name="connsiteY3339" fmla="*/ 1488410 h 6858000"/>
              <a:gd name="connsiteX3340" fmla="*/ 1200765 w 5794893"/>
              <a:gd name="connsiteY3340" fmla="*/ 1537571 h 6858000"/>
              <a:gd name="connsiteX3341" fmla="*/ 1297860 w 5794893"/>
              <a:gd name="connsiteY3341" fmla="*/ 1642040 h 6858000"/>
              <a:gd name="connsiteX3342" fmla="*/ 1338417 w 5794893"/>
              <a:gd name="connsiteY3342" fmla="*/ 1592878 h 6858000"/>
              <a:gd name="connsiteX3343" fmla="*/ 1242552 w 5794893"/>
              <a:gd name="connsiteY3343" fmla="*/ 1488410 h 6858000"/>
              <a:gd name="connsiteX3344" fmla="*/ 1359311 w 5794893"/>
              <a:gd name="connsiteY3344" fmla="*/ 1488410 h 6858000"/>
              <a:gd name="connsiteX3345" fmla="*/ 1319982 w 5794893"/>
              <a:gd name="connsiteY3345" fmla="*/ 1543717 h 6858000"/>
              <a:gd name="connsiteX3346" fmla="*/ 1426908 w 5794893"/>
              <a:gd name="connsiteY3346" fmla="*/ 1640810 h 6858000"/>
              <a:gd name="connsiteX3347" fmla="*/ 1466237 w 5794893"/>
              <a:gd name="connsiteY3347" fmla="*/ 1586732 h 6858000"/>
              <a:gd name="connsiteX3348" fmla="*/ 1359311 w 5794893"/>
              <a:gd name="connsiteY3348" fmla="*/ 1488410 h 6858000"/>
              <a:gd name="connsiteX3349" fmla="*/ 1005350 w 5794893"/>
              <a:gd name="connsiteY3349" fmla="*/ 1489639 h 6858000"/>
              <a:gd name="connsiteX3350" fmla="*/ 959875 w 5794893"/>
              <a:gd name="connsiteY3350" fmla="*/ 1528968 h 6858000"/>
              <a:gd name="connsiteX3351" fmla="*/ 1037304 w 5794893"/>
              <a:gd name="connsiteY3351" fmla="*/ 1642040 h 6858000"/>
              <a:gd name="connsiteX3352" fmla="*/ 1082778 w 5794893"/>
              <a:gd name="connsiteY3352" fmla="*/ 1602710 h 6858000"/>
              <a:gd name="connsiteX3353" fmla="*/ 1005350 w 5794893"/>
              <a:gd name="connsiteY3353" fmla="*/ 1489639 h 6858000"/>
              <a:gd name="connsiteX3354" fmla="*/ 1123337 w 5794893"/>
              <a:gd name="connsiteY3354" fmla="*/ 1489639 h 6858000"/>
              <a:gd name="connsiteX3355" fmla="*/ 1080320 w 5794893"/>
              <a:gd name="connsiteY3355" fmla="*/ 1533885 h 6858000"/>
              <a:gd name="connsiteX3356" fmla="*/ 1167582 w 5794893"/>
              <a:gd name="connsiteY3356" fmla="*/ 1642040 h 6858000"/>
              <a:gd name="connsiteX3357" fmla="*/ 1210598 w 5794893"/>
              <a:gd name="connsiteY3357" fmla="*/ 1597794 h 6858000"/>
              <a:gd name="connsiteX3358" fmla="*/ 1123337 w 5794893"/>
              <a:gd name="connsiteY3358" fmla="*/ 1489639 h 6858000"/>
              <a:gd name="connsiteX3359" fmla="*/ 769375 w 5794893"/>
              <a:gd name="connsiteY3359" fmla="*/ 1489639 h 6858000"/>
              <a:gd name="connsiteX3360" fmla="*/ 720214 w 5794893"/>
              <a:gd name="connsiteY3360" fmla="*/ 1519136 h 6858000"/>
              <a:gd name="connsiteX3361" fmla="*/ 777978 w 5794893"/>
              <a:gd name="connsiteY3361" fmla="*/ 1643268 h 6858000"/>
              <a:gd name="connsiteX3362" fmla="*/ 827139 w 5794893"/>
              <a:gd name="connsiteY3362" fmla="*/ 1613771 h 6858000"/>
              <a:gd name="connsiteX3363" fmla="*/ 769375 w 5794893"/>
              <a:gd name="connsiteY3363" fmla="*/ 1489639 h 6858000"/>
              <a:gd name="connsiteX3364" fmla="*/ 296197 w 5794893"/>
              <a:gd name="connsiteY3364" fmla="*/ 1489639 h 6858000"/>
              <a:gd name="connsiteX3365" fmla="*/ 239661 w 5794893"/>
              <a:gd name="connsiteY3365" fmla="*/ 1499472 h 6858000"/>
              <a:gd name="connsiteX3366" fmla="*/ 259326 w 5794893"/>
              <a:gd name="connsiteY3366" fmla="*/ 1643268 h 6858000"/>
              <a:gd name="connsiteX3367" fmla="*/ 315861 w 5794893"/>
              <a:gd name="connsiteY3367" fmla="*/ 1633436 h 6858000"/>
              <a:gd name="connsiteX3368" fmla="*/ 296197 w 5794893"/>
              <a:gd name="connsiteY3368" fmla="*/ 1489639 h 6858000"/>
              <a:gd name="connsiteX3369" fmla="*/ 415413 w 5794893"/>
              <a:gd name="connsiteY3369" fmla="*/ 1489639 h 6858000"/>
              <a:gd name="connsiteX3370" fmla="*/ 360106 w 5794893"/>
              <a:gd name="connsiteY3370" fmla="*/ 1504388 h 6858000"/>
              <a:gd name="connsiteX3371" fmla="*/ 389603 w 5794893"/>
              <a:gd name="connsiteY3371" fmla="*/ 1642040 h 6858000"/>
              <a:gd name="connsiteX3372" fmla="*/ 444910 w 5794893"/>
              <a:gd name="connsiteY3372" fmla="*/ 1628520 h 6858000"/>
              <a:gd name="connsiteX3373" fmla="*/ 415413 w 5794893"/>
              <a:gd name="connsiteY3373" fmla="*/ 1489639 h 6858000"/>
              <a:gd name="connsiteX3374" fmla="*/ 532171 w 5794893"/>
              <a:gd name="connsiteY3374" fmla="*/ 1489639 h 6858000"/>
              <a:gd name="connsiteX3375" fmla="*/ 479323 w 5794893"/>
              <a:gd name="connsiteY3375" fmla="*/ 1509304 h 6858000"/>
              <a:gd name="connsiteX3376" fmla="*/ 518652 w 5794893"/>
              <a:gd name="connsiteY3376" fmla="*/ 1642040 h 6858000"/>
              <a:gd name="connsiteX3377" fmla="*/ 571500 w 5794893"/>
              <a:gd name="connsiteY3377" fmla="*/ 1623603 h 6858000"/>
              <a:gd name="connsiteX3378" fmla="*/ 532171 w 5794893"/>
              <a:gd name="connsiteY3378" fmla="*/ 1489639 h 6858000"/>
              <a:gd name="connsiteX3379" fmla="*/ 178209 w 5794893"/>
              <a:gd name="connsiteY3379" fmla="*/ 1681369 h 6858000"/>
              <a:gd name="connsiteX3380" fmla="*/ 119216 w 5794893"/>
              <a:gd name="connsiteY3380" fmla="*/ 1686285 h 6858000"/>
              <a:gd name="connsiteX3381" fmla="*/ 129048 w 5794893"/>
              <a:gd name="connsiteY3381" fmla="*/ 1834997 h 6858000"/>
              <a:gd name="connsiteX3382" fmla="*/ 188042 w 5794893"/>
              <a:gd name="connsiteY3382" fmla="*/ 1830081 h 6858000"/>
              <a:gd name="connsiteX3383" fmla="*/ 178209 w 5794893"/>
              <a:gd name="connsiteY3383" fmla="*/ 1681369 h 6858000"/>
              <a:gd name="connsiteX3384" fmla="*/ 296197 w 5794893"/>
              <a:gd name="connsiteY3384" fmla="*/ 1681369 h 6858000"/>
              <a:gd name="connsiteX3385" fmla="*/ 239661 w 5794893"/>
              <a:gd name="connsiteY3385" fmla="*/ 1691201 h 6858000"/>
              <a:gd name="connsiteX3386" fmla="*/ 259326 w 5794893"/>
              <a:gd name="connsiteY3386" fmla="*/ 1834997 h 6858000"/>
              <a:gd name="connsiteX3387" fmla="*/ 315861 w 5794893"/>
              <a:gd name="connsiteY3387" fmla="*/ 1825165 h 6858000"/>
              <a:gd name="connsiteX3388" fmla="*/ 296197 w 5794893"/>
              <a:gd name="connsiteY3388" fmla="*/ 1681369 h 6858000"/>
              <a:gd name="connsiteX3389" fmla="*/ 415413 w 5794893"/>
              <a:gd name="connsiteY3389" fmla="*/ 1681369 h 6858000"/>
              <a:gd name="connsiteX3390" fmla="*/ 360106 w 5794893"/>
              <a:gd name="connsiteY3390" fmla="*/ 1696117 h 6858000"/>
              <a:gd name="connsiteX3391" fmla="*/ 389603 w 5794893"/>
              <a:gd name="connsiteY3391" fmla="*/ 1834997 h 6858000"/>
              <a:gd name="connsiteX3392" fmla="*/ 444910 w 5794893"/>
              <a:gd name="connsiteY3392" fmla="*/ 1820249 h 6858000"/>
              <a:gd name="connsiteX3393" fmla="*/ 415413 w 5794893"/>
              <a:gd name="connsiteY3393" fmla="*/ 1681369 h 6858000"/>
              <a:gd name="connsiteX3394" fmla="*/ 532171 w 5794893"/>
              <a:gd name="connsiteY3394" fmla="*/ 1681369 h 6858000"/>
              <a:gd name="connsiteX3395" fmla="*/ 479323 w 5794893"/>
              <a:gd name="connsiteY3395" fmla="*/ 1701033 h 6858000"/>
              <a:gd name="connsiteX3396" fmla="*/ 518652 w 5794893"/>
              <a:gd name="connsiteY3396" fmla="*/ 1834997 h 6858000"/>
              <a:gd name="connsiteX3397" fmla="*/ 571500 w 5794893"/>
              <a:gd name="connsiteY3397" fmla="*/ 1815333 h 6858000"/>
              <a:gd name="connsiteX3398" fmla="*/ 532171 w 5794893"/>
              <a:gd name="connsiteY3398" fmla="*/ 1681369 h 6858000"/>
              <a:gd name="connsiteX3399" fmla="*/ 651388 w 5794893"/>
              <a:gd name="connsiteY3399" fmla="*/ 1681369 h 6858000"/>
              <a:gd name="connsiteX3400" fmla="*/ 599769 w 5794893"/>
              <a:gd name="connsiteY3400" fmla="*/ 1705949 h 6858000"/>
              <a:gd name="connsiteX3401" fmla="*/ 648930 w 5794893"/>
              <a:gd name="connsiteY3401" fmla="*/ 1834997 h 6858000"/>
              <a:gd name="connsiteX3402" fmla="*/ 699320 w 5794893"/>
              <a:gd name="connsiteY3402" fmla="*/ 1809188 h 6858000"/>
              <a:gd name="connsiteX3403" fmla="*/ 651388 w 5794893"/>
              <a:gd name="connsiteY3403" fmla="*/ 1681369 h 6858000"/>
              <a:gd name="connsiteX3404" fmla="*/ 769375 w 5794893"/>
              <a:gd name="connsiteY3404" fmla="*/ 1681369 h 6858000"/>
              <a:gd name="connsiteX3405" fmla="*/ 720214 w 5794893"/>
              <a:gd name="connsiteY3405" fmla="*/ 1709636 h 6858000"/>
              <a:gd name="connsiteX3406" fmla="*/ 777978 w 5794893"/>
              <a:gd name="connsiteY3406" fmla="*/ 1833769 h 6858000"/>
              <a:gd name="connsiteX3407" fmla="*/ 827139 w 5794893"/>
              <a:gd name="connsiteY3407" fmla="*/ 1804272 h 6858000"/>
              <a:gd name="connsiteX3408" fmla="*/ 769375 w 5794893"/>
              <a:gd name="connsiteY3408" fmla="*/ 1681369 h 6858000"/>
              <a:gd name="connsiteX3409" fmla="*/ 887362 w 5794893"/>
              <a:gd name="connsiteY3409" fmla="*/ 1681369 h 6858000"/>
              <a:gd name="connsiteX3410" fmla="*/ 840659 w 5794893"/>
              <a:gd name="connsiteY3410" fmla="*/ 1715782 h 6858000"/>
              <a:gd name="connsiteX3411" fmla="*/ 908255 w 5794893"/>
              <a:gd name="connsiteY3411" fmla="*/ 1834997 h 6858000"/>
              <a:gd name="connsiteX3412" fmla="*/ 954959 w 5794893"/>
              <a:gd name="connsiteY3412" fmla="*/ 1800584 h 6858000"/>
              <a:gd name="connsiteX3413" fmla="*/ 887362 w 5794893"/>
              <a:gd name="connsiteY3413" fmla="*/ 1681369 h 6858000"/>
              <a:gd name="connsiteX3414" fmla="*/ 1005350 w 5794893"/>
              <a:gd name="connsiteY3414" fmla="*/ 1681369 h 6858000"/>
              <a:gd name="connsiteX3415" fmla="*/ 959875 w 5794893"/>
              <a:gd name="connsiteY3415" fmla="*/ 1720698 h 6858000"/>
              <a:gd name="connsiteX3416" fmla="*/ 1037304 w 5794893"/>
              <a:gd name="connsiteY3416" fmla="*/ 1833769 h 6858000"/>
              <a:gd name="connsiteX3417" fmla="*/ 1082778 w 5794893"/>
              <a:gd name="connsiteY3417" fmla="*/ 1794440 h 6858000"/>
              <a:gd name="connsiteX3418" fmla="*/ 1005350 w 5794893"/>
              <a:gd name="connsiteY3418" fmla="*/ 1681369 h 6858000"/>
              <a:gd name="connsiteX3419" fmla="*/ 1242552 w 5794893"/>
              <a:gd name="connsiteY3419" fmla="*/ 1681369 h 6858000"/>
              <a:gd name="connsiteX3420" fmla="*/ 1200765 w 5794893"/>
              <a:gd name="connsiteY3420" fmla="*/ 1730530 h 6858000"/>
              <a:gd name="connsiteX3421" fmla="*/ 1297860 w 5794893"/>
              <a:gd name="connsiteY3421" fmla="*/ 1834997 h 6858000"/>
              <a:gd name="connsiteX3422" fmla="*/ 1338417 w 5794893"/>
              <a:gd name="connsiteY3422" fmla="*/ 1785836 h 6858000"/>
              <a:gd name="connsiteX3423" fmla="*/ 1242552 w 5794893"/>
              <a:gd name="connsiteY3423" fmla="*/ 1681369 h 6858000"/>
              <a:gd name="connsiteX3424" fmla="*/ 1359311 w 5794893"/>
              <a:gd name="connsiteY3424" fmla="*/ 1681369 h 6858000"/>
              <a:gd name="connsiteX3425" fmla="*/ 1319982 w 5794893"/>
              <a:gd name="connsiteY3425" fmla="*/ 1735446 h 6858000"/>
              <a:gd name="connsiteX3426" fmla="*/ 1426908 w 5794893"/>
              <a:gd name="connsiteY3426" fmla="*/ 1833769 h 6858000"/>
              <a:gd name="connsiteX3427" fmla="*/ 1466237 w 5794893"/>
              <a:gd name="connsiteY3427" fmla="*/ 1779691 h 6858000"/>
              <a:gd name="connsiteX3428" fmla="*/ 1359311 w 5794893"/>
              <a:gd name="connsiteY3428" fmla="*/ 1681369 h 6858000"/>
              <a:gd name="connsiteX3429" fmla="*/ 1476069 w 5794893"/>
              <a:gd name="connsiteY3429" fmla="*/ 1682597 h 6858000"/>
              <a:gd name="connsiteX3430" fmla="*/ 1439198 w 5794893"/>
              <a:gd name="connsiteY3430" fmla="*/ 1741591 h 6858000"/>
              <a:gd name="connsiteX3431" fmla="*/ 1555957 w 5794893"/>
              <a:gd name="connsiteY3431" fmla="*/ 1834997 h 6858000"/>
              <a:gd name="connsiteX3432" fmla="*/ 1592828 w 5794893"/>
              <a:gd name="connsiteY3432" fmla="*/ 1776004 h 6858000"/>
              <a:gd name="connsiteX3433" fmla="*/ 1476069 w 5794893"/>
              <a:gd name="connsiteY3433" fmla="*/ 1682597 h 6858000"/>
              <a:gd name="connsiteX3434" fmla="*/ 1123337 w 5794893"/>
              <a:gd name="connsiteY3434" fmla="*/ 1682597 h 6858000"/>
              <a:gd name="connsiteX3435" fmla="*/ 1080320 w 5794893"/>
              <a:gd name="connsiteY3435" fmla="*/ 1726842 h 6858000"/>
              <a:gd name="connsiteX3436" fmla="*/ 1167582 w 5794893"/>
              <a:gd name="connsiteY3436" fmla="*/ 1834997 h 6858000"/>
              <a:gd name="connsiteX3437" fmla="*/ 1210598 w 5794893"/>
              <a:gd name="connsiteY3437" fmla="*/ 1790752 h 6858000"/>
              <a:gd name="connsiteX3438" fmla="*/ 1123337 w 5794893"/>
              <a:gd name="connsiteY3438" fmla="*/ 1682597 h 6858000"/>
              <a:gd name="connsiteX3439" fmla="*/ 178209 w 5794893"/>
              <a:gd name="connsiteY3439" fmla="*/ 1873098 h 6858000"/>
              <a:gd name="connsiteX3440" fmla="*/ 119216 w 5794893"/>
              <a:gd name="connsiteY3440" fmla="*/ 1878014 h 6858000"/>
              <a:gd name="connsiteX3441" fmla="*/ 129048 w 5794893"/>
              <a:gd name="connsiteY3441" fmla="*/ 2026726 h 6858000"/>
              <a:gd name="connsiteX3442" fmla="*/ 188042 w 5794893"/>
              <a:gd name="connsiteY3442" fmla="*/ 2021810 h 6858000"/>
              <a:gd name="connsiteX3443" fmla="*/ 178209 w 5794893"/>
              <a:gd name="connsiteY3443" fmla="*/ 1873098 h 6858000"/>
              <a:gd name="connsiteX3444" fmla="*/ 415413 w 5794893"/>
              <a:gd name="connsiteY3444" fmla="*/ 1873098 h 6858000"/>
              <a:gd name="connsiteX3445" fmla="*/ 360106 w 5794893"/>
              <a:gd name="connsiteY3445" fmla="*/ 1887846 h 6858000"/>
              <a:gd name="connsiteX3446" fmla="*/ 389603 w 5794893"/>
              <a:gd name="connsiteY3446" fmla="*/ 2026726 h 6858000"/>
              <a:gd name="connsiteX3447" fmla="*/ 444910 w 5794893"/>
              <a:gd name="connsiteY3447" fmla="*/ 2011978 h 6858000"/>
              <a:gd name="connsiteX3448" fmla="*/ 415413 w 5794893"/>
              <a:gd name="connsiteY3448" fmla="*/ 1873098 h 6858000"/>
              <a:gd name="connsiteX3449" fmla="*/ 651388 w 5794893"/>
              <a:gd name="connsiteY3449" fmla="*/ 1873098 h 6858000"/>
              <a:gd name="connsiteX3450" fmla="*/ 599769 w 5794893"/>
              <a:gd name="connsiteY3450" fmla="*/ 1897679 h 6858000"/>
              <a:gd name="connsiteX3451" fmla="*/ 648930 w 5794893"/>
              <a:gd name="connsiteY3451" fmla="*/ 2026726 h 6858000"/>
              <a:gd name="connsiteX3452" fmla="*/ 699320 w 5794893"/>
              <a:gd name="connsiteY3452" fmla="*/ 2002146 h 6858000"/>
              <a:gd name="connsiteX3453" fmla="*/ 651388 w 5794893"/>
              <a:gd name="connsiteY3453" fmla="*/ 1873098 h 6858000"/>
              <a:gd name="connsiteX3454" fmla="*/ 1359311 w 5794893"/>
              <a:gd name="connsiteY3454" fmla="*/ 1873098 h 6858000"/>
              <a:gd name="connsiteX3455" fmla="*/ 1319982 w 5794893"/>
              <a:gd name="connsiteY3455" fmla="*/ 1928404 h 6858000"/>
              <a:gd name="connsiteX3456" fmla="*/ 1426908 w 5794893"/>
              <a:gd name="connsiteY3456" fmla="*/ 2026726 h 6858000"/>
              <a:gd name="connsiteX3457" fmla="*/ 1466237 w 5794893"/>
              <a:gd name="connsiteY3457" fmla="*/ 1972649 h 6858000"/>
              <a:gd name="connsiteX3458" fmla="*/ 1359311 w 5794893"/>
              <a:gd name="connsiteY3458" fmla="*/ 1873098 h 6858000"/>
              <a:gd name="connsiteX3459" fmla="*/ 1476069 w 5794893"/>
              <a:gd name="connsiteY3459" fmla="*/ 1874326 h 6858000"/>
              <a:gd name="connsiteX3460" fmla="*/ 1439198 w 5794893"/>
              <a:gd name="connsiteY3460" fmla="*/ 1933320 h 6858000"/>
              <a:gd name="connsiteX3461" fmla="*/ 1555957 w 5794893"/>
              <a:gd name="connsiteY3461" fmla="*/ 2026726 h 6858000"/>
              <a:gd name="connsiteX3462" fmla="*/ 1592828 w 5794893"/>
              <a:gd name="connsiteY3462" fmla="*/ 1967733 h 6858000"/>
              <a:gd name="connsiteX3463" fmla="*/ 1476069 w 5794893"/>
              <a:gd name="connsiteY3463" fmla="*/ 1874326 h 6858000"/>
              <a:gd name="connsiteX3464" fmla="*/ 769375 w 5794893"/>
              <a:gd name="connsiteY3464" fmla="*/ 1874326 h 6858000"/>
              <a:gd name="connsiteX3465" fmla="*/ 720214 w 5794893"/>
              <a:gd name="connsiteY3465" fmla="*/ 1903823 h 6858000"/>
              <a:gd name="connsiteX3466" fmla="*/ 777978 w 5794893"/>
              <a:gd name="connsiteY3466" fmla="*/ 2027956 h 6858000"/>
              <a:gd name="connsiteX3467" fmla="*/ 827139 w 5794893"/>
              <a:gd name="connsiteY3467" fmla="*/ 1998459 h 6858000"/>
              <a:gd name="connsiteX3468" fmla="*/ 769375 w 5794893"/>
              <a:gd name="connsiteY3468" fmla="*/ 1874326 h 6858000"/>
              <a:gd name="connsiteX3469" fmla="*/ 887362 w 5794893"/>
              <a:gd name="connsiteY3469" fmla="*/ 1874326 h 6858000"/>
              <a:gd name="connsiteX3470" fmla="*/ 840659 w 5794893"/>
              <a:gd name="connsiteY3470" fmla="*/ 1908739 h 6858000"/>
              <a:gd name="connsiteX3471" fmla="*/ 908255 w 5794893"/>
              <a:gd name="connsiteY3471" fmla="*/ 2026726 h 6858000"/>
              <a:gd name="connsiteX3472" fmla="*/ 954959 w 5794893"/>
              <a:gd name="connsiteY3472" fmla="*/ 1993543 h 6858000"/>
              <a:gd name="connsiteX3473" fmla="*/ 887362 w 5794893"/>
              <a:gd name="connsiteY3473" fmla="*/ 1874326 h 6858000"/>
              <a:gd name="connsiteX3474" fmla="*/ 1005350 w 5794893"/>
              <a:gd name="connsiteY3474" fmla="*/ 1874326 h 6858000"/>
              <a:gd name="connsiteX3475" fmla="*/ 959875 w 5794893"/>
              <a:gd name="connsiteY3475" fmla="*/ 1913655 h 6858000"/>
              <a:gd name="connsiteX3476" fmla="*/ 1037304 w 5794893"/>
              <a:gd name="connsiteY3476" fmla="*/ 2026726 h 6858000"/>
              <a:gd name="connsiteX3477" fmla="*/ 1082778 w 5794893"/>
              <a:gd name="connsiteY3477" fmla="*/ 1987397 h 6858000"/>
              <a:gd name="connsiteX3478" fmla="*/ 1005350 w 5794893"/>
              <a:gd name="connsiteY3478" fmla="*/ 1874326 h 6858000"/>
              <a:gd name="connsiteX3479" fmla="*/ 1123337 w 5794893"/>
              <a:gd name="connsiteY3479" fmla="*/ 1874326 h 6858000"/>
              <a:gd name="connsiteX3480" fmla="*/ 1080320 w 5794893"/>
              <a:gd name="connsiteY3480" fmla="*/ 1918571 h 6858000"/>
              <a:gd name="connsiteX3481" fmla="*/ 1167582 w 5794893"/>
              <a:gd name="connsiteY3481" fmla="*/ 2026726 h 6858000"/>
              <a:gd name="connsiteX3482" fmla="*/ 1210598 w 5794893"/>
              <a:gd name="connsiteY3482" fmla="*/ 1982481 h 6858000"/>
              <a:gd name="connsiteX3483" fmla="*/ 1123337 w 5794893"/>
              <a:gd name="connsiteY3483" fmla="*/ 1874326 h 6858000"/>
              <a:gd name="connsiteX3484" fmla="*/ 1242552 w 5794893"/>
              <a:gd name="connsiteY3484" fmla="*/ 1874326 h 6858000"/>
              <a:gd name="connsiteX3485" fmla="*/ 1200765 w 5794893"/>
              <a:gd name="connsiteY3485" fmla="*/ 1923488 h 6858000"/>
              <a:gd name="connsiteX3486" fmla="*/ 1297860 w 5794893"/>
              <a:gd name="connsiteY3486" fmla="*/ 2026726 h 6858000"/>
              <a:gd name="connsiteX3487" fmla="*/ 1338417 w 5794893"/>
              <a:gd name="connsiteY3487" fmla="*/ 1977565 h 6858000"/>
              <a:gd name="connsiteX3488" fmla="*/ 1242552 w 5794893"/>
              <a:gd name="connsiteY3488" fmla="*/ 1874326 h 6858000"/>
              <a:gd name="connsiteX3489" fmla="*/ 532171 w 5794893"/>
              <a:gd name="connsiteY3489" fmla="*/ 1874326 h 6858000"/>
              <a:gd name="connsiteX3490" fmla="*/ 479323 w 5794893"/>
              <a:gd name="connsiteY3490" fmla="*/ 1893991 h 6858000"/>
              <a:gd name="connsiteX3491" fmla="*/ 518652 w 5794893"/>
              <a:gd name="connsiteY3491" fmla="*/ 2026726 h 6858000"/>
              <a:gd name="connsiteX3492" fmla="*/ 571500 w 5794893"/>
              <a:gd name="connsiteY3492" fmla="*/ 2008292 h 6858000"/>
              <a:gd name="connsiteX3493" fmla="*/ 532171 w 5794893"/>
              <a:gd name="connsiteY3493" fmla="*/ 1874326 h 6858000"/>
              <a:gd name="connsiteX3494" fmla="*/ 296197 w 5794893"/>
              <a:gd name="connsiteY3494" fmla="*/ 1874326 h 6858000"/>
              <a:gd name="connsiteX3495" fmla="*/ 239661 w 5794893"/>
              <a:gd name="connsiteY3495" fmla="*/ 1884159 h 6858000"/>
              <a:gd name="connsiteX3496" fmla="*/ 259326 w 5794893"/>
              <a:gd name="connsiteY3496" fmla="*/ 2027956 h 6858000"/>
              <a:gd name="connsiteX3497" fmla="*/ 315861 w 5794893"/>
              <a:gd name="connsiteY3497" fmla="*/ 2018124 h 6858000"/>
              <a:gd name="connsiteX3498" fmla="*/ 296197 w 5794893"/>
              <a:gd name="connsiteY3498" fmla="*/ 1874326 h 6858000"/>
              <a:gd name="connsiteX3499" fmla="*/ 1242552 w 5794893"/>
              <a:gd name="connsiteY3499" fmla="*/ 2062369 h 6858000"/>
              <a:gd name="connsiteX3500" fmla="*/ 1200765 w 5794893"/>
              <a:gd name="connsiteY3500" fmla="*/ 2112759 h 6858000"/>
              <a:gd name="connsiteX3501" fmla="*/ 1297860 w 5794893"/>
              <a:gd name="connsiteY3501" fmla="*/ 2217227 h 6858000"/>
              <a:gd name="connsiteX3502" fmla="*/ 1338417 w 5794893"/>
              <a:gd name="connsiteY3502" fmla="*/ 2168066 h 6858000"/>
              <a:gd name="connsiteX3503" fmla="*/ 1242552 w 5794893"/>
              <a:gd name="connsiteY3503" fmla="*/ 2062369 h 6858000"/>
              <a:gd name="connsiteX3504" fmla="*/ 1476069 w 5794893"/>
              <a:gd name="connsiteY3504" fmla="*/ 2063597 h 6858000"/>
              <a:gd name="connsiteX3505" fmla="*/ 1439198 w 5794893"/>
              <a:gd name="connsiteY3505" fmla="*/ 2122591 h 6858000"/>
              <a:gd name="connsiteX3506" fmla="*/ 1555957 w 5794893"/>
              <a:gd name="connsiteY3506" fmla="*/ 2217227 h 6858000"/>
              <a:gd name="connsiteX3507" fmla="*/ 1592828 w 5794893"/>
              <a:gd name="connsiteY3507" fmla="*/ 2158234 h 6858000"/>
              <a:gd name="connsiteX3508" fmla="*/ 1476069 w 5794893"/>
              <a:gd name="connsiteY3508" fmla="*/ 2063597 h 6858000"/>
              <a:gd name="connsiteX3509" fmla="*/ 1359311 w 5794893"/>
              <a:gd name="connsiteY3509" fmla="*/ 2064827 h 6858000"/>
              <a:gd name="connsiteX3510" fmla="*/ 1319982 w 5794893"/>
              <a:gd name="connsiteY3510" fmla="*/ 2118905 h 6858000"/>
              <a:gd name="connsiteX3511" fmla="*/ 1426908 w 5794893"/>
              <a:gd name="connsiteY3511" fmla="*/ 2217227 h 6858000"/>
              <a:gd name="connsiteX3512" fmla="*/ 1466237 w 5794893"/>
              <a:gd name="connsiteY3512" fmla="*/ 2163150 h 6858000"/>
              <a:gd name="connsiteX3513" fmla="*/ 1359311 w 5794893"/>
              <a:gd name="connsiteY3513" fmla="*/ 2064827 h 6858000"/>
              <a:gd name="connsiteX3514" fmla="*/ 178209 w 5794893"/>
              <a:gd name="connsiteY3514" fmla="*/ 2063597 h 6858000"/>
              <a:gd name="connsiteX3515" fmla="*/ 119216 w 5794893"/>
              <a:gd name="connsiteY3515" fmla="*/ 2068514 h 6858000"/>
              <a:gd name="connsiteX3516" fmla="*/ 129048 w 5794893"/>
              <a:gd name="connsiteY3516" fmla="*/ 2217227 h 6858000"/>
              <a:gd name="connsiteX3517" fmla="*/ 188042 w 5794893"/>
              <a:gd name="connsiteY3517" fmla="*/ 2212311 h 6858000"/>
              <a:gd name="connsiteX3518" fmla="*/ 178209 w 5794893"/>
              <a:gd name="connsiteY3518" fmla="*/ 2063597 h 6858000"/>
              <a:gd name="connsiteX3519" fmla="*/ 296197 w 5794893"/>
              <a:gd name="connsiteY3519" fmla="*/ 2063597 h 6858000"/>
              <a:gd name="connsiteX3520" fmla="*/ 239661 w 5794893"/>
              <a:gd name="connsiteY3520" fmla="*/ 2073430 h 6858000"/>
              <a:gd name="connsiteX3521" fmla="*/ 259326 w 5794893"/>
              <a:gd name="connsiteY3521" fmla="*/ 2217227 h 6858000"/>
              <a:gd name="connsiteX3522" fmla="*/ 315861 w 5794893"/>
              <a:gd name="connsiteY3522" fmla="*/ 2207395 h 6858000"/>
              <a:gd name="connsiteX3523" fmla="*/ 296197 w 5794893"/>
              <a:gd name="connsiteY3523" fmla="*/ 2063597 h 6858000"/>
              <a:gd name="connsiteX3524" fmla="*/ 532171 w 5794893"/>
              <a:gd name="connsiteY3524" fmla="*/ 2063597 h 6858000"/>
              <a:gd name="connsiteX3525" fmla="*/ 479323 w 5794893"/>
              <a:gd name="connsiteY3525" fmla="*/ 2084492 h 6858000"/>
              <a:gd name="connsiteX3526" fmla="*/ 518652 w 5794893"/>
              <a:gd name="connsiteY3526" fmla="*/ 2217227 h 6858000"/>
              <a:gd name="connsiteX3527" fmla="*/ 571500 w 5794893"/>
              <a:gd name="connsiteY3527" fmla="*/ 2197563 h 6858000"/>
              <a:gd name="connsiteX3528" fmla="*/ 532171 w 5794893"/>
              <a:gd name="connsiteY3528" fmla="*/ 2063597 h 6858000"/>
              <a:gd name="connsiteX3529" fmla="*/ 651388 w 5794893"/>
              <a:gd name="connsiteY3529" fmla="*/ 2063597 h 6858000"/>
              <a:gd name="connsiteX3530" fmla="*/ 599769 w 5794893"/>
              <a:gd name="connsiteY3530" fmla="*/ 2089408 h 6858000"/>
              <a:gd name="connsiteX3531" fmla="*/ 648930 w 5794893"/>
              <a:gd name="connsiteY3531" fmla="*/ 2217227 h 6858000"/>
              <a:gd name="connsiteX3532" fmla="*/ 699320 w 5794893"/>
              <a:gd name="connsiteY3532" fmla="*/ 2192647 h 6858000"/>
              <a:gd name="connsiteX3533" fmla="*/ 651388 w 5794893"/>
              <a:gd name="connsiteY3533" fmla="*/ 2063597 h 6858000"/>
              <a:gd name="connsiteX3534" fmla="*/ 769375 w 5794893"/>
              <a:gd name="connsiteY3534" fmla="*/ 2063597 h 6858000"/>
              <a:gd name="connsiteX3535" fmla="*/ 720214 w 5794893"/>
              <a:gd name="connsiteY3535" fmla="*/ 2094324 h 6858000"/>
              <a:gd name="connsiteX3536" fmla="*/ 777978 w 5794893"/>
              <a:gd name="connsiteY3536" fmla="*/ 2217227 h 6858000"/>
              <a:gd name="connsiteX3537" fmla="*/ 827139 w 5794893"/>
              <a:gd name="connsiteY3537" fmla="*/ 2187731 h 6858000"/>
              <a:gd name="connsiteX3538" fmla="*/ 769375 w 5794893"/>
              <a:gd name="connsiteY3538" fmla="*/ 2063597 h 6858000"/>
              <a:gd name="connsiteX3539" fmla="*/ 887362 w 5794893"/>
              <a:gd name="connsiteY3539" fmla="*/ 2063597 h 6858000"/>
              <a:gd name="connsiteX3540" fmla="*/ 840659 w 5794893"/>
              <a:gd name="connsiteY3540" fmla="*/ 2098010 h 6858000"/>
              <a:gd name="connsiteX3541" fmla="*/ 908255 w 5794893"/>
              <a:gd name="connsiteY3541" fmla="*/ 2217227 h 6858000"/>
              <a:gd name="connsiteX3542" fmla="*/ 954959 w 5794893"/>
              <a:gd name="connsiteY3542" fmla="*/ 2182814 h 6858000"/>
              <a:gd name="connsiteX3543" fmla="*/ 887362 w 5794893"/>
              <a:gd name="connsiteY3543" fmla="*/ 2063597 h 6858000"/>
              <a:gd name="connsiteX3544" fmla="*/ 1005350 w 5794893"/>
              <a:gd name="connsiteY3544" fmla="*/ 2063597 h 6858000"/>
              <a:gd name="connsiteX3545" fmla="*/ 959875 w 5794893"/>
              <a:gd name="connsiteY3545" fmla="*/ 2101698 h 6858000"/>
              <a:gd name="connsiteX3546" fmla="*/ 1037304 w 5794893"/>
              <a:gd name="connsiteY3546" fmla="*/ 2215998 h 6858000"/>
              <a:gd name="connsiteX3547" fmla="*/ 1082778 w 5794893"/>
              <a:gd name="connsiteY3547" fmla="*/ 2176669 h 6858000"/>
              <a:gd name="connsiteX3548" fmla="*/ 1005350 w 5794893"/>
              <a:gd name="connsiteY3548" fmla="*/ 2063597 h 6858000"/>
              <a:gd name="connsiteX3549" fmla="*/ 1123337 w 5794893"/>
              <a:gd name="connsiteY3549" fmla="*/ 2063597 h 6858000"/>
              <a:gd name="connsiteX3550" fmla="*/ 1080320 w 5794893"/>
              <a:gd name="connsiteY3550" fmla="*/ 2109072 h 6858000"/>
              <a:gd name="connsiteX3551" fmla="*/ 1167582 w 5794893"/>
              <a:gd name="connsiteY3551" fmla="*/ 2217227 h 6858000"/>
              <a:gd name="connsiteX3552" fmla="*/ 1210598 w 5794893"/>
              <a:gd name="connsiteY3552" fmla="*/ 2172982 h 6858000"/>
              <a:gd name="connsiteX3553" fmla="*/ 1123337 w 5794893"/>
              <a:gd name="connsiteY3553" fmla="*/ 2063597 h 6858000"/>
              <a:gd name="connsiteX3554" fmla="*/ 415413 w 5794893"/>
              <a:gd name="connsiteY3554" fmla="*/ 2064827 h 6858000"/>
              <a:gd name="connsiteX3555" fmla="*/ 360106 w 5794893"/>
              <a:gd name="connsiteY3555" fmla="*/ 2079576 h 6858000"/>
              <a:gd name="connsiteX3556" fmla="*/ 389603 w 5794893"/>
              <a:gd name="connsiteY3556" fmla="*/ 2217227 h 6858000"/>
              <a:gd name="connsiteX3557" fmla="*/ 444910 w 5794893"/>
              <a:gd name="connsiteY3557" fmla="*/ 2203707 h 6858000"/>
              <a:gd name="connsiteX3558" fmla="*/ 415413 w 5794893"/>
              <a:gd name="connsiteY3558" fmla="*/ 2064827 h 6858000"/>
              <a:gd name="connsiteX3559" fmla="*/ 178209 w 5794893"/>
              <a:gd name="connsiteY3559" fmla="*/ 2252869 h 6858000"/>
              <a:gd name="connsiteX3560" fmla="*/ 119216 w 5794893"/>
              <a:gd name="connsiteY3560" fmla="*/ 2257785 h 6858000"/>
              <a:gd name="connsiteX3561" fmla="*/ 129048 w 5794893"/>
              <a:gd name="connsiteY3561" fmla="*/ 2406498 h 6858000"/>
              <a:gd name="connsiteX3562" fmla="*/ 188042 w 5794893"/>
              <a:gd name="connsiteY3562" fmla="*/ 2400353 h 6858000"/>
              <a:gd name="connsiteX3563" fmla="*/ 178209 w 5794893"/>
              <a:gd name="connsiteY3563" fmla="*/ 2252869 h 6858000"/>
              <a:gd name="connsiteX3564" fmla="*/ 415413 w 5794893"/>
              <a:gd name="connsiteY3564" fmla="*/ 2252869 h 6858000"/>
              <a:gd name="connsiteX3565" fmla="*/ 360106 w 5794893"/>
              <a:gd name="connsiteY3565" fmla="*/ 2267617 h 6858000"/>
              <a:gd name="connsiteX3566" fmla="*/ 389603 w 5794893"/>
              <a:gd name="connsiteY3566" fmla="*/ 2406498 h 6858000"/>
              <a:gd name="connsiteX3567" fmla="*/ 444910 w 5794893"/>
              <a:gd name="connsiteY3567" fmla="*/ 2390520 h 6858000"/>
              <a:gd name="connsiteX3568" fmla="*/ 415413 w 5794893"/>
              <a:gd name="connsiteY3568" fmla="*/ 2252869 h 6858000"/>
              <a:gd name="connsiteX3569" fmla="*/ 887362 w 5794893"/>
              <a:gd name="connsiteY3569" fmla="*/ 2252869 h 6858000"/>
              <a:gd name="connsiteX3570" fmla="*/ 840659 w 5794893"/>
              <a:gd name="connsiteY3570" fmla="*/ 2287282 h 6858000"/>
              <a:gd name="connsiteX3571" fmla="*/ 908255 w 5794893"/>
              <a:gd name="connsiteY3571" fmla="*/ 2406498 h 6858000"/>
              <a:gd name="connsiteX3572" fmla="*/ 954959 w 5794893"/>
              <a:gd name="connsiteY3572" fmla="*/ 2370856 h 6858000"/>
              <a:gd name="connsiteX3573" fmla="*/ 887362 w 5794893"/>
              <a:gd name="connsiteY3573" fmla="*/ 2252869 h 6858000"/>
              <a:gd name="connsiteX3574" fmla="*/ 1240094 w 5794893"/>
              <a:gd name="connsiteY3574" fmla="*/ 2252869 h 6858000"/>
              <a:gd name="connsiteX3575" fmla="*/ 1199537 w 5794893"/>
              <a:gd name="connsiteY3575" fmla="*/ 2302030 h 6858000"/>
              <a:gd name="connsiteX3576" fmla="*/ 1296630 w 5794893"/>
              <a:gd name="connsiteY3576" fmla="*/ 2406498 h 6858000"/>
              <a:gd name="connsiteX3577" fmla="*/ 1338417 w 5794893"/>
              <a:gd name="connsiteY3577" fmla="*/ 2357337 h 6858000"/>
              <a:gd name="connsiteX3578" fmla="*/ 1240094 w 5794893"/>
              <a:gd name="connsiteY3578" fmla="*/ 2252869 h 6858000"/>
              <a:gd name="connsiteX3579" fmla="*/ 1359311 w 5794893"/>
              <a:gd name="connsiteY3579" fmla="*/ 2254098 h 6858000"/>
              <a:gd name="connsiteX3580" fmla="*/ 1319982 w 5794893"/>
              <a:gd name="connsiteY3580" fmla="*/ 2308176 h 6858000"/>
              <a:gd name="connsiteX3581" fmla="*/ 1426908 w 5794893"/>
              <a:gd name="connsiteY3581" fmla="*/ 2407727 h 6858000"/>
              <a:gd name="connsiteX3582" fmla="*/ 1466237 w 5794893"/>
              <a:gd name="connsiteY3582" fmla="*/ 2352421 h 6858000"/>
              <a:gd name="connsiteX3583" fmla="*/ 1359311 w 5794893"/>
              <a:gd name="connsiteY3583" fmla="*/ 2254098 h 6858000"/>
              <a:gd name="connsiteX3584" fmla="*/ 1005350 w 5794893"/>
              <a:gd name="connsiteY3584" fmla="*/ 2254098 h 6858000"/>
              <a:gd name="connsiteX3585" fmla="*/ 959875 w 5794893"/>
              <a:gd name="connsiteY3585" fmla="*/ 2293427 h 6858000"/>
              <a:gd name="connsiteX3586" fmla="*/ 1037304 w 5794893"/>
              <a:gd name="connsiteY3586" fmla="*/ 2406498 h 6858000"/>
              <a:gd name="connsiteX3587" fmla="*/ 1082778 w 5794893"/>
              <a:gd name="connsiteY3587" fmla="*/ 2367169 h 6858000"/>
              <a:gd name="connsiteX3588" fmla="*/ 1005350 w 5794893"/>
              <a:gd name="connsiteY3588" fmla="*/ 2254098 h 6858000"/>
              <a:gd name="connsiteX3589" fmla="*/ 1123337 w 5794893"/>
              <a:gd name="connsiteY3589" fmla="*/ 2254098 h 6858000"/>
              <a:gd name="connsiteX3590" fmla="*/ 1080320 w 5794893"/>
              <a:gd name="connsiteY3590" fmla="*/ 2298344 h 6858000"/>
              <a:gd name="connsiteX3591" fmla="*/ 1167582 w 5794893"/>
              <a:gd name="connsiteY3591" fmla="*/ 2406498 h 6858000"/>
              <a:gd name="connsiteX3592" fmla="*/ 1210598 w 5794893"/>
              <a:gd name="connsiteY3592" fmla="*/ 2362253 h 6858000"/>
              <a:gd name="connsiteX3593" fmla="*/ 1123337 w 5794893"/>
              <a:gd name="connsiteY3593" fmla="*/ 2254098 h 6858000"/>
              <a:gd name="connsiteX3594" fmla="*/ 532171 w 5794893"/>
              <a:gd name="connsiteY3594" fmla="*/ 2254098 h 6858000"/>
              <a:gd name="connsiteX3595" fmla="*/ 479323 w 5794893"/>
              <a:gd name="connsiteY3595" fmla="*/ 2273763 h 6858000"/>
              <a:gd name="connsiteX3596" fmla="*/ 518652 w 5794893"/>
              <a:gd name="connsiteY3596" fmla="*/ 2406498 h 6858000"/>
              <a:gd name="connsiteX3597" fmla="*/ 571500 w 5794893"/>
              <a:gd name="connsiteY3597" fmla="*/ 2386834 h 6858000"/>
              <a:gd name="connsiteX3598" fmla="*/ 532171 w 5794893"/>
              <a:gd name="connsiteY3598" fmla="*/ 2254098 h 6858000"/>
              <a:gd name="connsiteX3599" fmla="*/ 651388 w 5794893"/>
              <a:gd name="connsiteY3599" fmla="*/ 2254098 h 6858000"/>
              <a:gd name="connsiteX3600" fmla="*/ 599769 w 5794893"/>
              <a:gd name="connsiteY3600" fmla="*/ 2277449 h 6858000"/>
              <a:gd name="connsiteX3601" fmla="*/ 648930 w 5794893"/>
              <a:gd name="connsiteY3601" fmla="*/ 2406498 h 6858000"/>
              <a:gd name="connsiteX3602" fmla="*/ 699320 w 5794893"/>
              <a:gd name="connsiteY3602" fmla="*/ 2381918 h 6858000"/>
              <a:gd name="connsiteX3603" fmla="*/ 651388 w 5794893"/>
              <a:gd name="connsiteY3603" fmla="*/ 2254098 h 6858000"/>
              <a:gd name="connsiteX3604" fmla="*/ 768145 w 5794893"/>
              <a:gd name="connsiteY3604" fmla="*/ 2254098 h 6858000"/>
              <a:gd name="connsiteX3605" fmla="*/ 720214 w 5794893"/>
              <a:gd name="connsiteY3605" fmla="*/ 2282365 h 6858000"/>
              <a:gd name="connsiteX3606" fmla="*/ 777978 w 5794893"/>
              <a:gd name="connsiteY3606" fmla="*/ 2406498 h 6858000"/>
              <a:gd name="connsiteX3607" fmla="*/ 827139 w 5794893"/>
              <a:gd name="connsiteY3607" fmla="*/ 2377002 h 6858000"/>
              <a:gd name="connsiteX3608" fmla="*/ 768145 w 5794893"/>
              <a:gd name="connsiteY3608" fmla="*/ 2254098 h 6858000"/>
              <a:gd name="connsiteX3609" fmla="*/ 296197 w 5794893"/>
              <a:gd name="connsiteY3609" fmla="*/ 2254098 h 6858000"/>
              <a:gd name="connsiteX3610" fmla="*/ 239661 w 5794893"/>
              <a:gd name="connsiteY3610" fmla="*/ 2262701 h 6858000"/>
              <a:gd name="connsiteX3611" fmla="*/ 259326 w 5794893"/>
              <a:gd name="connsiteY3611" fmla="*/ 2406498 h 6858000"/>
              <a:gd name="connsiteX3612" fmla="*/ 315861 w 5794893"/>
              <a:gd name="connsiteY3612" fmla="*/ 2396666 h 6858000"/>
              <a:gd name="connsiteX3613" fmla="*/ 296197 w 5794893"/>
              <a:gd name="connsiteY3613" fmla="*/ 2254098 h 6858000"/>
              <a:gd name="connsiteX3614" fmla="*/ 651388 w 5794893"/>
              <a:gd name="connsiteY3614" fmla="*/ 2447056 h 6858000"/>
              <a:gd name="connsiteX3615" fmla="*/ 599769 w 5794893"/>
              <a:gd name="connsiteY3615" fmla="*/ 2471637 h 6858000"/>
              <a:gd name="connsiteX3616" fmla="*/ 648930 w 5794893"/>
              <a:gd name="connsiteY3616" fmla="*/ 2600686 h 6858000"/>
              <a:gd name="connsiteX3617" fmla="*/ 699320 w 5794893"/>
              <a:gd name="connsiteY3617" fmla="*/ 2574875 h 6858000"/>
              <a:gd name="connsiteX3618" fmla="*/ 651388 w 5794893"/>
              <a:gd name="connsiteY3618" fmla="*/ 2447056 h 6858000"/>
              <a:gd name="connsiteX3619" fmla="*/ 887362 w 5794893"/>
              <a:gd name="connsiteY3619" fmla="*/ 2447056 h 6858000"/>
              <a:gd name="connsiteX3620" fmla="*/ 840659 w 5794893"/>
              <a:gd name="connsiteY3620" fmla="*/ 2481469 h 6858000"/>
              <a:gd name="connsiteX3621" fmla="*/ 908255 w 5794893"/>
              <a:gd name="connsiteY3621" fmla="*/ 2600686 h 6858000"/>
              <a:gd name="connsiteX3622" fmla="*/ 954959 w 5794893"/>
              <a:gd name="connsiteY3622" fmla="*/ 2566273 h 6858000"/>
              <a:gd name="connsiteX3623" fmla="*/ 887362 w 5794893"/>
              <a:gd name="connsiteY3623" fmla="*/ 2447056 h 6858000"/>
              <a:gd name="connsiteX3624" fmla="*/ 1123337 w 5794893"/>
              <a:gd name="connsiteY3624" fmla="*/ 2447056 h 6858000"/>
              <a:gd name="connsiteX3625" fmla="*/ 1080320 w 5794893"/>
              <a:gd name="connsiteY3625" fmla="*/ 2491301 h 6858000"/>
              <a:gd name="connsiteX3626" fmla="*/ 1167582 w 5794893"/>
              <a:gd name="connsiteY3626" fmla="*/ 2600686 h 6858000"/>
              <a:gd name="connsiteX3627" fmla="*/ 1210598 w 5794893"/>
              <a:gd name="connsiteY3627" fmla="*/ 2556441 h 6858000"/>
              <a:gd name="connsiteX3628" fmla="*/ 1123337 w 5794893"/>
              <a:gd name="connsiteY3628" fmla="*/ 2447056 h 6858000"/>
              <a:gd name="connsiteX3629" fmla="*/ 1242552 w 5794893"/>
              <a:gd name="connsiteY3629" fmla="*/ 2447056 h 6858000"/>
              <a:gd name="connsiteX3630" fmla="*/ 1200765 w 5794893"/>
              <a:gd name="connsiteY3630" fmla="*/ 2496217 h 6858000"/>
              <a:gd name="connsiteX3631" fmla="*/ 1297860 w 5794893"/>
              <a:gd name="connsiteY3631" fmla="*/ 2600686 h 6858000"/>
              <a:gd name="connsiteX3632" fmla="*/ 1338417 w 5794893"/>
              <a:gd name="connsiteY3632" fmla="*/ 2551524 h 6858000"/>
              <a:gd name="connsiteX3633" fmla="*/ 1242552 w 5794893"/>
              <a:gd name="connsiteY3633" fmla="*/ 2447056 h 6858000"/>
              <a:gd name="connsiteX3634" fmla="*/ 1359311 w 5794893"/>
              <a:gd name="connsiteY3634" fmla="*/ 2448286 h 6858000"/>
              <a:gd name="connsiteX3635" fmla="*/ 1319982 w 5794893"/>
              <a:gd name="connsiteY3635" fmla="*/ 2502363 h 6858000"/>
              <a:gd name="connsiteX3636" fmla="*/ 1426908 w 5794893"/>
              <a:gd name="connsiteY3636" fmla="*/ 2600686 h 6858000"/>
              <a:gd name="connsiteX3637" fmla="*/ 1466237 w 5794893"/>
              <a:gd name="connsiteY3637" fmla="*/ 2546608 h 6858000"/>
              <a:gd name="connsiteX3638" fmla="*/ 1359311 w 5794893"/>
              <a:gd name="connsiteY3638" fmla="*/ 2448286 h 6858000"/>
              <a:gd name="connsiteX3639" fmla="*/ 1005350 w 5794893"/>
              <a:gd name="connsiteY3639" fmla="*/ 2448286 h 6858000"/>
              <a:gd name="connsiteX3640" fmla="*/ 959875 w 5794893"/>
              <a:gd name="connsiteY3640" fmla="*/ 2487615 h 6858000"/>
              <a:gd name="connsiteX3641" fmla="*/ 1037304 w 5794893"/>
              <a:gd name="connsiteY3641" fmla="*/ 2600686 h 6858000"/>
              <a:gd name="connsiteX3642" fmla="*/ 1082778 w 5794893"/>
              <a:gd name="connsiteY3642" fmla="*/ 2561357 h 6858000"/>
              <a:gd name="connsiteX3643" fmla="*/ 1005350 w 5794893"/>
              <a:gd name="connsiteY3643" fmla="*/ 2448286 h 6858000"/>
              <a:gd name="connsiteX3644" fmla="*/ 769375 w 5794893"/>
              <a:gd name="connsiteY3644" fmla="*/ 2448286 h 6858000"/>
              <a:gd name="connsiteX3645" fmla="*/ 720214 w 5794893"/>
              <a:gd name="connsiteY3645" fmla="*/ 2477782 h 6858000"/>
              <a:gd name="connsiteX3646" fmla="*/ 777978 w 5794893"/>
              <a:gd name="connsiteY3646" fmla="*/ 2601914 h 6858000"/>
              <a:gd name="connsiteX3647" fmla="*/ 827139 w 5794893"/>
              <a:gd name="connsiteY3647" fmla="*/ 2572417 h 6858000"/>
              <a:gd name="connsiteX3648" fmla="*/ 769375 w 5794893"/>
              <a:gd name="connsiteY3648" fmla="*/ 2448286 h 6858000"/>
              <a:gd name="connsiteX3649" fmla="*/ 178209 w 5794893"/>
              <a:gd name="connsiteY3649" fmla="*/ 2448286 h 6858000"/>
              <a:gd name="connsiteX3650" fmla="*/ 119216 w 5794893"/>
              <a:gd name="connsiteY3650" fmla="*/ 2453202 h 6858000"/>
              <a:gd name="connsiteX3651" fmla="*/ 129048 w 5794893"/>
              <a:gd name="connsiteY3651" fmla="*/ 2601914 h 6858000"/>
              <a:gd name="connsiteX3652" fmla="*/ 188042 w 5794893"/>
              <a:gd name="connsiteY3652" fmla="*/ 2596998 h 6858000"/>
              <a:gd name="connsiteX3653" fmla="*/ 178209 w 5794893"/>
              <a:gd name="connsiteY3653" fmla="*/ 2448286 h 6858000"/>
              <a:gd name="connsiteX3654" fmla="*/ 297426 w 5794893"/>
              <a:gd name="connsiteY3654" fmla="*/ 2448286 h 6858000"/>
              <a:gd name="connsiteX3655" fmla="*/ 240891 w 5794893"/>
              <a:gd name="connsiteY3655" fmla="*/ 2458118 h 6858000"/>
              <a:gd name="connsiteX3656" fmla="*/ 260555 w 5794893"/>
              <a:gd name="connsiteY3656" fmla="*/ 2601914 h 6858000"/>
              <a:gd name="connsiteX3657" fmla="*/ 317091 w 5794893"/>
              <a:gd name="connsiteY3657" fmla="*/ 2592082 h 6858000"/>
              <a:gd name="connsiteX3658" fmla="*/ 297426 w 5794893"/>
              <a:gd name="connsiteY3658" fmla="*/ 2448286 h 6858000"/>
              <a:gd name="connsiteX3659" fmla="*/ 415413 w 5794893"/>
              <a:gd name="connsiteY3659" fmla="*/ 2448286 h 6858000"/>
              <a:gd name="connsiteX3660" fmla="*/ 360106 w 5794893"/>
              <a:gd name="connsiteY3660" fmla="*/ 2463034 h 6858000"/>
              <a:gd name="connsiteX3661" fmla="*/ 389603 w 5794893"/>
              <a:gd name="connsiteY3661" fmla="*/ 2601914 h 6858000"/>
              <a:gd name="connsiteX3662" fmla="*/ 444910 w 5794893"/>
              <a:gd name="connsiteY3662" fmla="*/ 2587166 h 6858000"/>
              <a:gd name="connsiteX3663" fmla="*/ 415413 w 5794893"/>
              <a:gd name="connsiteY3663" fmla="*/ 2448286 h 6858000"/>
              <a:gd name="connsiteX3664" fmla="*/ 532171 w 5794893"/>
              <a:gd name="connsiteY3664" fmla="*/ 2448286 h 6858000"/>
              <a:gd name="connsiteX3665" fmla="*/ 479323 w 5794893"/>
              <a:gd name="connsiteY3665" fmla="*/ 2467950 h 6858000"/>
              <a:gd name="connsiteX3666" fmla="*/ 518652 w 5794893"/>
              <a:gd name="connsiteY3666" fmla="*/ 2601914 h 6858000"/>
              <a:gd name="connsiteX3667" fmla="*/ 571500 w 5794893"/>
              <a:gd name="connsiteY3667" fmla="*/ 2582250 h 6858000"/>
              <a:gd name="connsiteX3668" fmla="*/ 532171 w 5794893"/>
              <a:gd name="connsiteY3668" fmla="*/ 2448286 h 6858000"/>
              <a:gd name="connsiteX3669" fmla="*/ 415413 w 5794893"/>
              <a:gd name="connsiteY3669" fmla="*/ 2641243 h 6858000"/>
              <a:gd name="connsiteX3670" fmla="*/ 360106 w 5794893"/>
              <a:gd name="connsiteY3670" fmla="*/ 2655992 h 6858000"/>
              <a:gd name="connsiteX3671" fmla="*/ 389603 w 5794893"/>
              <a:gd name="connsiteY3671" fmla="*/ 2794873 h 6858000"/>
              <a:gd name="connsiteX3672" fmla="*/ 444910 w 5794893"/>
              <a:gd name="connsiteY3672" fmla="*/ 2780125 h 6858000"/>
              <a:gd name="connsiteX3673" fmla="*/ 415413 w 5794893"/>
              <a:gd name="connsiteY3673" fmla="*/ 2641243 h 6858000"/>
              <a:gd name="connsiteX3674" fmla="*/ 651388 w 5794893"/>
              <a:gd name="connsiteY3674" fmla="*/ 2641243 h 6858000"/>
              <a:gd name="connsiteX3675" fmla="*/ 599769 w 5794893"/>
              <a:gd name="connsiteY3675" fmla="*/ 2665824 h 6858000"/>
              <a:gd name="connsiteX3676" fmla="*/ 648930 w 5794893"/>
              <a:gd name="connsiteY3676" fmla="*/ 2794873 h 6858000"/>
              <a:gd name="connsiteX3677" fmla="*/ 699320 w 5794893"/>
              <a:gd name="connsiteY3677" fmla="*/ 2769063 h 6858000"/>
              <a:gd name="connsiteX3678" fmla="*/ 651388 w 5794893"/>
              <a:gd name="connsiteY3678" fmla="*/ 2641243 h 6858000"/>
              <a:gd name="connsiteX3679" fmla="*/ 769375 w 5794893"/>
              <a:gd name="connsiteY3679" fmla="*/ 2642473 h 6858000"/>
              <a:gd name="connsiteX3680" fmla="*/ 720214 w 5794893"/>
              <a:gd name="connsiteY3680" fmla="*/ 2671970 h 6858000"/>
              <a:gd name="connsiteX3681" fmla="*/ 777978 w 5794893"/>
              <a:gd name="connsiteY3681" fmla="*/ 2796101 h 6858000"/>
              <a:gd name="connsiteX3682" fmla="*/ 827139 w 5794893"/>
              <a:gd name="connsiteY3682" fmla="*/ 2766605 h 6858000"/>
              <a:gd name="connsiteX3683" fmla="*/ 769375 w 5794893"/>
              <a:gd name="connsiteY3683" fmla="*/ 2642473 h 6858000"/>
              <a:gd name="connsiteX3684" fmla="*/ 887362 w 5794893"/>
              <a:gd name="connsiteY3684" fmla="*/ 2642473 h 6858000"/>
              <a:gd name="connsiteX3685" fmla="*/ 840659 w 5794893"/>
              <a:gd name="connsiteY3685" fmla="*/ 2676886 h 6858000"/>
              <a:gd name="connsiteX3686" fmla="*/ 908255 w 5794893"/>
              <a:gd name="connsiteY3686" fmla="*/ 2796101 h 6858000"/>
              <a:gd name="connsiteX3687" fmla="*/ 954959 w 5794893"/>
              <a:gd name="connsiteY3687" fmla="*/ 2761689 h 6858000"/>
              <a:gd name="connsiteX3688" fmla="*/ 887362 w 5794893"/>
              <a:gd name="connsiteY3688" fmla="*/ 2642473 h 6858000"/>
              <a:gd name="connsiteX3689" fmla="*/ 1005350 w 5794893"/>
              <a:gd name="connsiteY3689" fmla="*/ 2642473 h 6858000"/>
              <a:gd name="connsiteX3690" fmla="*/ 959875 w 5794893"/>
              <a:gd name="connsiteY3690" fmla="*/ 2681802 h 6858000"/>
              <a:gd name="connsiteX3691" fmla="*/ 1037304 w 5794893"/>
              <a:gd name="connsiteY3691" fmla="*/ 2794873 h 6858000"/>
              <a:gd name="connsiteX3692" fmla="*/ 1082778 w 5794893"/>
              <a:gd name="connsiteY3692" fmla="*/ 2755544 h 6858000"/>
              <a:gd name="connsiteX3693" fmla="*/ 1005350 w 5794893"/>
              <a:gd name="connsiteY3693" fmla="*/ 2642473 h 6858000"/>
              <a:gd name="connsiteX3694" fmla="*/ 1123337 w 5794893"/>
              <a:gd name="connsiteY3694" fmla="*/ 2642473 h 6858000"/>
              <a:gd name="connsiteX3695" fmla="*/ 1080320 w 5794893"/>
              <a:gd name="connsiteY3695" fmla="*/ 2686718 h 6858000"/>
              <a:gd name="connsiteX3696" fmla="*/ 1167582 w 5794893"/>
              <a:gd name="connsiteY3696" fmla="*/ 2796101 h 6858000"/>
              <a:gd name="connsiteX3697" fmla="*/ 1210598 w 5794893"/>
              <a:gd name="connsiteY3697" fmla="*/ 2751856 h 6858000"/>
              <a:gd name="connsiteX3698" fmla="*/ 1123337 w 5794893"/>
              <a:gd name="connsiteY3698" fmla="*/ 2642473 h 6858000"/>
              <a:gd name="connsiteX3699" fmla="*/ 1240094 w 5794893"/>
              <a:gd name="connsiteY3699" fmla="*/ 2642473 h 6858000"/>
              <a:gd name="connsiteX3700" fmla="*/ 1199537 w 5794893"/>
              <a:gd name="connsiteY3700" fmla="*/ 2691634 h 6858000"/>
              <a:gd name="connsiteX3701" fmla="*/ 1296630 w 5794893"/>
              <a:gd name="connsiteY3701" fmla="*/ 2794873 h 6858000"/>
              <a:gd name="connsiteX3702" fmla="*/ 1338417 w 5794893"/>
              <a:gd name="connsiteY3702" fmla="*/ 2745712 h 6858000"/>
              <a:gd name="connsiteX3703" fmla="*/ 1240094 w 5794893"/>
              <a:gd name="connsiteY3703" fmla="*/ 2642473 h 6858000"/>
              <a:gd name="connsiteX3704" fmla="*/ 1359311 w 5794893"/>
              <a:gd name="connsiteY3704" fmla="*/ 2642473 h 6858000"/>
              <a:gd name="connsiteX3705" fmla="*/ 1319982 w 5794893"/>
              <a:gd name="connsiteY3705" fmla="*/ 2696550 h 6858000"/>
              <a:gd name="connsiteX3706" fmla="*/ 1426908 w 5794893"/>
              <a:gd name="connsiteY3706" fmla="*/ 2794873 h 6858000"/>
              <a:gd name="connsiteX3707" fmla="*/ 1466237 w 5794893"/>
              <a:gd name="connsiteY3707" fmla="*/ 2740796 h 6858000"/>
              <a:gd name="connsiteX3708" fmla="*/ 1359311 w 5794893"/>
              <a:gd name="connsiteY3708" fmla="*/ 2642473 h 6858000"/>
              <a:gd name="connsiteX3709" fmla="*/ 532171 w 5794893"/>
              <a:gd name="connsiteY3709" fmla="*/ 2642473 h 6858000"/>
              <a:gd name="connsiteX3710" fmla="*/ 479323 w 5794893"/>
              <a:gd name="connsiteY3710" fmla="*/ 2662137 h 6858000"/>
              <a:gd name="connsiteX3711" fmla="*/ 518652 w 5794893"/>
              <a:gd name="connsiteY3711" fmla="*/ 2796101 h 6858000"/>
              <a:gd name="connsiteX3712" fmla="*/ 571500 w 5794893"/>
              <a:gd name="connsiteY3712" fmla="*/ 2776437 h 6858000"/>
              <a:gd name="connsiteX3713" fmla="*/ 532171 w 5794893"/>
              <a:gd name="connsiteY3713" fmla="*/ 2642473 h 6858000"/>
              <a:gd name="connsiteX3714" fmla="*/ 179439 w 5794893"/>
              <a:gd name="connsiteY3714" fmla="*/ 2642473 h 6858000"/>
              <a:gd name="connsiteX3715" fmla="*/ 120445 w 5794893"/>
              <a:gd name="connsiteY3715" fmla="*/ 2647389 h 6858000"/>
              <a:gd name="connsiteX3716" fmla="*/ 129048 w 5794893"/>
              <a:gd name="connsiteY3716" fmla="*/ 2796101 h 6858000"/>
              <a:gd name="connsiteX3717" fmla="*/ 189271 w 5794893"/>
              <a:gd name="connsiteY3717" fmla="*/ 2791185 h 6858000"/>
              <a:gd name="connsiteX3718" fmla="*/ 179439 w 5794893"/>
              <a:gd name="connsiteY3718" fmla="*/ 2642473 h 6858000"/>
              <a:gd name="connsiteX3719" fmla="*/ 296197 w 5794893"/>
              <a:gd name="connsiteY3719" fmla="*/ 2642473 h 6858000"/>
              <a:gd name="connsiteX3720" fmla="*/ 239661 w 5794893"/>
              <a:gd name="connsiteY3720" fmla="*/ 2652305 h 6858000"/>
              <a:gd name="connsiteX3721" fmla="*/ 259326 w 5794893"/>
              <a:gd name="connsiteY3721" fmla="*/ 2796101 h 6858000"/>
              <a:gd name="connsiteX3722" fmla="*/ 315861 w 5794893"/>
              <a:gd name="connsiteY3722" fmla="*/ 2786269 h 6858000"/>
              <a:gd name="connsiteX3723" fmla="*/ 296197 w 5794893"/>
              <a:gd name="connsiteY3723" fmla="*/ 2642473 h 6858000"/>
              <a:gd name="connsiteX3724" fmla="*/ 178209 w 5794893"/>
              <a:gd name="connsiteY3724" fmla="*/ 2836660 h 6858000"/>
              <a:gd name="connsiteX3725" fmla="*/ 119216 w 5794893"/>
              <a:gd name="connsiteY3725" fmla="*/ 2841576 h 6858000"/>
              <a:gd name="connsiteX3726" fmla="*/ 129048 w 5794893"/>
              <a:gd name="connsiteY3726" fmla="*/ 2990289 h 6858000"/>
              <a:gd name="connsiteX3727" fmla="*/ 188042 w 5794893"/>
              <a:gd name="connsiteY3727" fmla="*/ 2985373 h 6858000"/>
              <a:gd name="connsiteX3728" fmla="*/ 178209 w 5794893"/>
              <a:gd name="connsiteY3728" fmla="*/ 2836660 h 6858000"/>
              <a:gd name="connsiteX3729" fmla="*/ 296197 w 5794893"/>
              <a:gd name="connsiteY3729" fmla="*/ 2836660 h 6858000"/>
              <a:gd name="connsiteX3730" fmla="*/ 239661 w 5794893"/>
              <a:gd name="connsiteY3730" fmla="*/ 2846493 h 6858000"/>
              <a:gd name="connsiteX3731" fmla="*/ 259326 w 5794893"/>
              <a:gd name="connsiteY3731" fmla="*/ 2990289 h 6858000"/>
              <a:gd name="connsiteX3732" fmla="*/ 315861 w 5794893"/>
              <a:gd name="connsiteY3732" fmla="*/ 2980457 h 6858000"/>
              <a:gd name="connsiteX3733" fmla="*/ 296197 w 5794893"/>
              <a:gd name="connsiteY3733" fmla="*/ 2836660 h 6858000"/>
              <a:gd name="connsiteX3734" fmla="*/ 415413 w 5794893"/>
              <a:gd name="connsiteY3734" fmla="*/ 2836660 h 6858000"/>
              <a:gd name="connsiteX3735" fmla="*/ 360106 w 5794893"/>
              <a:gd name="connsiteY3735" fmla="*/ 2851409 h 6858000"/>
              <a:gd name="connsiteX3736" fmla="*/ 389603 w 5794893"/>
              <a:gd name="connsiteY3736" fmla="*/ 2990289 h 6858000"/>
              <a:gd name="connsiteX3737" fmla="*/ 444910 w 5794893"/>
              <a:gd name="connsiteY3737" fmla="*/ 2975540 h 6858000"/>
              <a:gd name="connsiteX3738" fmla="*/ 415413 w 5794893"/>
              <a:gd name="connsiteY3738" fmla="*/ 2836660 h 6858000"/>
              <a:gd name="connsiteX3739" fmla="*/ 532171 w 5794893"/>
              <a:gd name="connsiteY3739" fmla="*/ 2836660 h 6858000"/>
              <a:gd name="connsiteX3740" fmla="*/ 479323 w 5794893"/>
              <a:gd name="connsiteY3740" fmla="*/ 2856325 h 6858000"/>
              <a:gd name="connsiteX3741" fmla="*/ 518652 w 5794893"/>
              <a:gd name="connsiteY3741" fmla="*/ 2990289 h 6858000"/>
              <a:gd name="connsiteX3742" fmla="*/ 571500 w 5794893"/>
              <a:gd name="connsiteY3742" fmla="*/ 2970624 h 6858000"/>
              <a:gd name="connsiteX3743" fmla="*/ 532171 w 5794893"/>
              <a:gd name="connsiteY3743" fmla="*/ 2836660 h 6858000"/>
              <a:gd name="connsiteX3744" fmla="*/ 651388 w 5794893"/>
              <a:gd name="connsiteY3744" fmla="*/ 2836660 h 6858000"/>
              <a:gd name="connsiteX3745" fmla="*/ 599769 w 5794893"/>
              <a:gd name="connsiteY3745" fmla="*/ 2861241 h 6858000"/>
              <a:gd name="connsiteX3746" fmla="*/ 648930 w 5794893"/>
              <a:gd name="connsiteY3746" fmla="*/ 2990289 h 6858000"/>
              <a:gd name="connsiteX3747" fmla="*/ 699320 w 5794893"/>
              <a:gd name="connsiteY3747" fmla="*/ 2964480 h 6858000"/>
              <a:gd name="connsiteX3748" fmla="*/ 651388 w 5794893"/>
              <a:gd name="connsiteY3748" fmla="*/ 2836660 h 6858000"/>
              <a:gd name="connsiteX3749" fmla="*/ 769375 w 5794893"/>
              <a:gd name="connsiteY3749" fmla="*/ 2836660 h 6858000"/>
              <a:gd name="connsiteX3750" fmla="*/ 720214 w 5794893"/>
              <a:gd name="connsiteY3750" fmla="*/ 2864927 h 6858000"/>
              <a:gd name="connsiteX3751" fmla="*/ 777978 w 5794893"/>
              <a:gd name="connsiteY3751" fmla="*/ 2989060 h 6858000"/>
              <a:gd name="connsiteX3752" fmla="*/ 827139 w 5794893"/>
              <a:gd name="connsiteY3752" fmla="*/ 2959564 h 6858000"/>
              <a:gd name="connsiteX3753" fmla="*/ 769375 w 5794893"/>
              <a:gd name="connsiteY3753" fmla="*/ 2836660 h 6858000"/>
              <a:gd name="connsiteX3754" fmla="*/ 887362 w 5794893"/>
              <a:gd name="connsiteY3754" fmla="*/ 2836660 h 6858000"/>
              <a:gd name="connsiteX3755" fmla="*/ 840659 w 5794893"/>
              <a:gd name="connsiteY3755" fmla="*/ 2871073 h 6858000"/>
              <a:gd name="connsiteX3756" fmla="*/ 908255 w 5794893"/>
              <a:gd name="connsiteY3756" fmla="*/ 2990289 h 6858000"/>
              <a:gd name="connsiteX3757" fmla="*/ 954959 w 5794893"/>
              <a:gd name="connsiteY3757" fmla="*/ 2955876 h 6858000"/>
              <a:gd name="connsiteX3758" fmla="*/ 887362 w 5794893"/>
              <a:gd name="connsiteY3758" fmla="*/ 2836660 h 6858000"/>
              <a:gd name="connsiteX3759" fmla="*/ 1005350 w 5794893"/>
              <a:gd name="connsiteY3759" fmla="*/ 2836660 h 6858000"/>
              <a:gd name="connsiteX3760" fmla="*/ 959875 w 5794893"/>
              <a:gd name="connsiteY3760" fmla="*/ 2874760 h 6858000"/>
              <a:gd name="connsiteX3761" fmla="*/ 1037304 w 5794893"/>
              <a:gd name="connsiteY3761" fmla="*/ 2989060 h 6858000"/>
              <a:gd name="connsiteX3762" fmla="*/ 1082778 w 5794893"/>
              <a:gd name="connsiteY3762" fmla="*/ 2949731 h 6858000"/>
              <a:gd name="connsiteX3763" fmla="*/ 1005350 w 5794893"/>
              <a:gd name="connsiteY3763" fmla="*/ 2836660 h 6858000"/>
              <a:gd name="connsiteX3764" fmla="*/ 1240094 w 5794893"/>
              <a:gd name="connsiteY3764" fmla="*/ 2836660 h 6858000"/>
              <a:gd name="connsiteX3765" fmla="*/ 1199537 w 5794893"/>
              <a:gd name="connsiteY3765" fmla="*/ 2885822 h 6858000"/>
              <a:gd name="connsiteX3766" fmla="*/ 1296630 w 5794893"/>
              <a:gd name="connsiteY3766" fmla="*/ 2990289 h 6858000"/>
              <a:gd name="connsiteX3767" fmla="*/ 1338417 w 5794893"/>
              <a:gd name="connsiteY3767" fmla="*/ 2941127 h 6858000"/>
              <a:gd name="connsiteX3768" fmla="*/ 1240094 w 5794893"/>
              <a:gd name="connsiteY3768" fmla="*/ 2836660 h 6858000"/>
              <a:gd name="connsiteX3769" fmla="*/ 1359311 w 5794893"/>
              <a:gd name="connsiteY3769" fmla="*/ 2836660 h 6858000"/>
              <a:gd name="connsiteX3770" fmla="*/ 1319982 w 5794893"/>
              <a:gd name="connsiteY3770" fmla="*/ 2890738 h 6858000"/>
              <a:gd name="connsiteX3771" fmla="*/ 1426908 w 5794893"/>
              <a:gd name="connsiteY3771" fmla="*/ 2989060 h 6858000"/>
              <a:gd name="connsiteX3772" fmla="*/ 1466237 w 5794893"/>
              <a:gd name="connsiteY3772" fmla="*/ 2934983 h 6858000"/>
              <a:gd name="connsiteX3773" fmla="*/ 1359311 w 5794893"/>
              <a:gd name="connsiteY3773" fmla="*/ 2836660 h 6858000"/>
              <a:gd name="connsiteX3774" fmla="*/ 1123337 w 5794893"/>
              <a:gd name="connsiteY3774" fmla="*/ 2837889 h 6858000"/>
              <a:gd name="connsiteX3775" fmla="*/ 1080320 w 5794893"/>
              <a:gd name="connsiteY3775" fmla="*/ 2882134 h 6858000"/>
              <a:gd name="connsiteX3776" fmla="*/ 1167582 w 5794893"/>
              <a:gd name="connsiteY3776" fmla="*/ 2990289 h 6858000"/>
              <a:gd name="connsiteX3777" fmla="*/ 1210598 w 5794893"/>
              <a:gd name="connsiteY3777" fmla="*/ 2946044 h 6858000"/>
              <a:gd name="connsiteX3778" fmla="*/ 1123337 w 5794893"/>
              <a:gd name="connsiteY3778" fmla="*/ 2837889 h 6858000"/>
              <a:gd name="connsiteX3779" fmla="*/ 178209 w 5794893"/>
              <a:gd name="connsiteY3779" fmla="*/ 3030848 h 6858000"/>
              <a:gd name="connsiteX3780" fmla="*/ 119216 w 5794893"/>
              <a:gd name="connsiteY3780" fmla="*/ 3035764 h 6858000"/>
              <a:gd name="connsiteX3781" fmla="*/ 129048 w 5794893"/>
              <a:gd name="connsiteY3781" fmla="*/ 3184476 h 6858000"/>
              <a:gd name="connsiteX3782" fmla="*/ 188042 w 5794893"/>
              <a:gd name="connsiteY3782" fmla="*/ 3179560 h 6858000"/>
              <a:gd name="connsiteX3783" fmla="*/ 178209 w 5794893"/>
              <a:gd name="connsiteY3783" fmla="*/ 3030848 h 6858000"/>
              <a:gd name="connsiteX3784" fmla="*/ 296197 w 5794893"/>
              <a:gd name="connsiteY3784" fmla="*/ 3030848 h 6858000"/>
              <a:gd name="connsiteX3785" fmla="*/ 239661 w 5794893"/>
              <a:gd name="connsiteY3785" fmla="*/ 3040680 h 6858000"/>
              <a:gd name="connsiteX3786" fmla="*/ 259326 w 5794893"/>
              <a:gd name="connsiteY3786" fmla="*/ 3184476 h 6858000"/>
              <a:gd name="connsiteX3787" fmla="*/ 315861 w 5794893"/>
              <a:gd name="connsiteY3787" fmla="*/ 3174644 h 6858000"/>
              <a:gd name="connsiteX3788" fmla="*/ 296197 w 5794893"/>
              <a:gd name="connsiteY3788" fmla="*/ 3030848 h 6858000"/>
              <a:gd name="connsiteX3789" fmla="*/ 415413 w 5794893"/>
              <a:gd name="connsiteY3789" fmla="*/ 3030848 h 6858000"/>
              <a:gd name="connsiteX3790" fmla="*/ 360106 w 5794893"/>
              <a:gd name="connsiteY3790" fmla="*/ 3045596 h 6858000"/>
              <a:gd name="connsiteX3791" fmla="*/ 389603 w 5794893"/>
              <a:gd name="connsiteY3791" fmla="*/ 3184476 h 6858000"/>
              <a:gd name="connsiteX3792" fmla="*/ 444910 w 5794893"/>
              <a:gd name="connsiteY3792" fmla="*/ 3169728 h 6858000"/>
              <a:gd name="connsiteX3793" fmla="*/ 415413 w 5794893"/>
              <a:gd name="connsiteY3793" fmla="*/ 3030848 h 6858000"/>
              <a:gd name="connsiteX3794" fmla="*/ 532171 w 5794893"/>
              <a:gd name="connsiteY3794" fmla="*/ 3030848 h 6858000"/>
              <a:gd name="connsiteX3795" fmla="*/ 479323 w 5794893"/>
              <a:gd name="connsiteY3795" fmla="*/ 3050512 h 6858000"/>
              <a:gd name="connsiteX3796" fmla="*/ 518652 w 5794893"/>
              <a:gd name="connsiteY3796" fmla="*/ 3184476 h 6858000"/>
              <a:gd name="connsiteX3797" fmla="*/ 571500 w 5794893"/>
              <a:gd name="connsiteY3797" fmla="*/ 3164812 h 6858000"/>
              <a:gd name="connsiteX3798" fmla="*/ 532171 w 5794893"/>
              <a:gd name="connsiteY3798" fmla="*/ 3030848 h 6858000"/>
              <a:gd name="connsiteX3799" fmla="*/ 651388 w 5794893"/>
              <a:gd name="connsiteY3799" fmla="*/ 3030848 h 6858000"/>
              <a:gd name="connsiteX3800" fmla="*/ 599769 w 5794893"/>
              <a:gd name="connsiteY3800" fmla="*/ 3055428 h 6858000"/>
              <a:gd name="connsiteX3801" fmla="*/ 648930 w 5794893"/>
              <a:gd name="connsiteY3801" fmla="*/ 3184476 h 6858000"/>
              <a:gd name="connsiteX3802" fmla="*/ 699320 w 5794893"/>
              <a:gd name="connsiteY3802" fmla="*/ 3158667 h 6858000"/>
              <a:gd name="connsiteX3803" fmla="*/ 651388 w 5794893"/>
              <a:gd name="connsiteY3803" fmla="*/ 3030848 h 6858000"/>
              <a:gd name="connsiteX3804" fmla="*/ 887362 w 5794893"/>
              <a:gd name="connsiteY3804" fmla="*/ 3030848 h 6858000"/>
              <a:gd name="connsiteX3805" fmla="*/ 840659 w 5794893"/>
              <a:gd name="connsiteY3805" fmla="*/ 3065260 h 6858000"/>
              <a:gd name="connsiteX3806" fmla="*/ 908255 w 5794893"/>
              <a:gd name="connsiteY3806" fmla="*/ 3184476 h 6858000"/>
              <a:gd name="connsiteX3807" fmla="*/ 954959 w 5794893"/>
              <a:gd name="connsiteY3807" fmla="*/ 3148835 h 6858000"/>
              <a:gd name="connsiteX3808" fmla="*/ 887362 w 5794893"/>
              <a:gd name="connsiteY3808" fmla="*/ 3030848 h 6858000"/>
              <a:gd name="connsiteX3809" fmla="*/ 1005350 w 5794893"/>
              <a:gd name="connsiteY3809" fmla="*/ 3030848 h 6858000"/>
              <a:gd name="connsiteX3810" fmla="*/ 959875 w 5794893"/>
              <a:gd name="connsiteY3810" fmla="*/ 3070177 h 6858000"/>
              <a:gd name="connsiteX3811" fmla="*/ 1037304 w 5794893"/>
              <a:gd name="connsiteY3811" fmla="*/ 3183248 h 6858000"/>
              <a:gd name="connsiteX3812" fmla="*/ 1082778 w 5794893"/>
              <a:gd name="connsiteY3812" fmla="*/ 3143919 h 6858000"/>
              <a:gd name="connsiteX3813" fmla="*/ 1005350 w 5794893"/>
              <a:gd name="connsiteY3813" fmla="*/ 3030848 h 6858000"/>
              <a:gd name="connsiteX3814" fmla="*/ 1240094 w 5794893"/>
              <a:gd name="connsiteY3814" fmla="*/ 3030848 h 6858000"/>
              <a:gd name="connsiteX3815" fmla="*/ 1199537 w 5794893"/>
              <a:gd name="connsiteY3815" fmla="*/ 3080009 h 6858000"/>
              <a:gd name="connsiteX3816" fmla="*/ 1296630 w 5794893"/>
              <a:gd name="connsiteY3816" fmla="*/ 3184476 h 6858000"/>
              <a:gd name="connsiteX3817" fmla="*/ 1338417 w 5794893"/>
              <a:gd name="connsiteY3817" fmla="*/ 3135315 h 6858000"/>
              <a:gd name="connsiteX3818" fmla="*/ 1240094 w 5794893"/>
              <a:gd name="connsiteY3818" fmla="*/ 3030848 h 6858000"/>
              <a:gd name="connsiteX3819" fmla="*/ 1359311 w 5794893"/>
              <a:gd name="connsiteY3819" fmla="*/ 3032076 h 6858000"/>
              <a:gd name="connsiteX3820" fmla="*/ 1319982 w 5794893"/>
              <a:gd name="connsiteY3820" fmla="*/ 3086153 h 6858000"/>
              <a:gd name="connsiteX3821" fmla="*/ 1426908 w 5794893"/>
              <a:gd name="connsiteY3821" fmla="*/ 3185706 h 6858000"/>
              <a:gd name="connsiteX3822" fmla="*/ 1466237 w 5794893"/>
              <a:gd name="connsiteY3822" fmla="*/ 3130399 h 6858000"/>
              <a:gd name="connsiteX3823" fmla="*/ 1359311 w 5794893"/>
              <a:gd name="connsiteY3823" fmla="*/ 3032076 h 6858000"/>
              <a:gd name="connsiteX3824" fmla="*/ 1123337 w 5794893"/>
              <a:gd name="connsiteY3824" fmla="*/ 3032076 h 6858000"/>
              <a:gd name="connsiteX3825" fmla="*/ 1080320 w 5794893"/>
              <a:gd name="connsiteY3825" fmla="*/ 3076321 h 6858000"/>
              <a:gd name="connsiteX3826" fmla="*/ 1167582 w 5794893"/>
              <a:gd name="connsiteY3826" fmla="*/ 3184476 h 6858000"/>
              <a:gd name="connsiteX3827" fmla="*/ 1210598 w 5794893"/>
              <a:gd name="connsiteY3827" fmla="*/ 3140231 h 6858000"/>
              <a:gd name="connsiteX3828" fmla="*/ 1123337 w 5794893"/>
              <a:gd name="connsiteY3828" fmla="*/ 3032076 h 6858000"/>
              <a:gd name="connsiteX3829" fmla="*/ 770604 w 5794893"/>
              <a:gd name="connsiteY3829" fmla="*/ 3032076 h 6858000"/>
              <a:gd name="connsiteX3830" fmla="*/ 721442 w 5794893"/>
              <a:gd name="connsiteY3830" fmla="*/ 3061573 h 6858000"/>
              <a:gd name="connsiteX3831" fmla="*/ 779207 w 5794893"/>
              <a:gd name="connsiteY3831" fmla="*/ 3185706 h 6858000"/>
              <a:gd name="connsiteX3832" fmla="*/ 828369 w 5794893"/>
              <a:gd name="connsiteY3832" fmla="*/ 3154979 h 6858000"/>
              <a:gd name="connsiteX3833" fmla="*/ 770604 w 5794893"/>
              <a:gd name="connsiteY3833" fmla="*/ 3032076 h 6858000"/>
              <a:gd name="connsiteX3834" fmla="*/ 178209 w 5794893"/>
              <a:gd name="connsiteY3834" fmla="*/ 3225035 h 6858000"/>
              <a:gd name="connsiteX3835" fmla="*/ 119216 w 5794893"/>
              <a:gd name="connsiteY3835" fmla="*/ 3229951 h 6858000"/>
              <a:gd name="connsiteX3836" fmla="*/ 129048 w 5794893"/>
              <a:gd name="connsiteY3836" fmla="*/ 3378663 h 6858000"/>
              <a:gd name="connsiteX3837" fmla="*/ 188042 w 5794893"/>
              <a:gd name="connsiteY3837" fmla="*/ 3373747 h 6858000"/>
              <a:gd name="connsiteX3838" fmla="*/ 178209 w 5794893"/>
              <a:gd name="connsiteY3838" fmla="*/ 3225035 h 6858000"/>
              <a:gd name="connsiteX3839" fmla="*/ 296197 w 5794893"/>
              <a:gd name="connsiteY3839" fmla="*/ 3225035 h 6858000"/>
              <a:gd name="connsiteX3840" fmla="*/ 239661 w 5794893"/>
              <a:gd name="connsiteY3840" fmla="*/ 3234867 h 6858000"/>
              <a:gd name="connsiteX3841" fmla="*/ 259326 w 5794893"/>
              <a:gd name="connsiteY3841" fmla="*/ 3378663 h 6858000"/>
              <a:gd name="connsiteX3842" fmla="*/ 315861 w 5794893"/>
              <a:gd name="connsiteY3842" fmla="*/ 3368831 h 6858000"/>
              <a:gd name="connsiteX3843" fmla="*/ 296197 w 5794893"/>
              <a:gd name="connsiteY3843" fmla="*/ 3225035 h 6858000"/>
              <a:gd name="connsiteX3844" fmla="*/ 415413 w 5794893"/>
              <a:gd name="connsiteY3844" fmla="*/ 3225035 h 6858000"/>
              <a:gd name="connsiteX3845" fmla="*/ 360106 w 5794893"/>
              <a:gd name="connsiteY3845" fmla="*/ 3239783 h 6858000"/>
              <a:gd name="connsiteX3846" fmla="*/ 389603 w 5794893"/>
              <a:gd name="connsiteY3846" fmla="*/ 3378663 h 6858000"/>
              <a:gd name="connsiteX3847" fmla="*/ 444910 w 5794893"/>
              <a:gd name="connsiteY3847" fmla="*/ 3363915 h 6858000"/>
              <a:gd name="connsiteX3848" fmla="*/ 415413 w 5794893"/>
              <a:gd name="connsiteY3848" fmla="*/ 3225035 h 6858000"/>
              <a:gd name="connsiteX3849" fmla="*/ 532171 w 5794893"/>
              <a:gd name="connsiteY3849" fmla="*/ 3225035 h 6858000"/>
              <a:gd name="connsiteX3850" fmla="*/ 479323 w 5794893"/>
              <a:gd name="connsiteY3850" fmla="*/ 3244699 h 6858000"/>
              <a:gd name="connsiteX3851" fmla="*/ 518652 w 5794893"/>
              <a:gd name="connsiteY3851" fmla="*/ 3378663 h 6858000"/>
              <a:gd name="connsiteX3852" fmla="*/ 571500 w 5794893"/>
              <a:gd name="connsiteY3852" fmla="*/ 3358999 h 6858000"/>
              <a:gd name="connsiteX3853" fmla="*/ 532171 w 5794893"/>
              <a:gd name="connsiteY3853" fmla="*/ 3225035 h 6858000"/>
              <a:gd name="connsiteX3854" fmla="*/ 651388 w 5794893"/>
              <a:gd name="connsiteY3854" fmla="*/ 3225035 h 6858000"/>
              <a:gd name="connsiteX3855" fmla="*/ 599769 w 5794893"/>
              <a:gd name="connsiteY3855" fmla="*/ 3249616 h 6858000"/>
              <a:gd name="connsiteX3856" fmla="*/ 648930 w 5794893"/>
              <a:gd name="connsiteY3856" fmla="*/ 3378663 h 6858000"/>
              <a:gd name="connsiteX3857" fmla="*/ 699320 w 5794893"/>
              <a:gd name="connsiteY3857" fmla="*/ 3352854 h 6858000"/>
              <a:gd name="connsiteX3858" fmla="*/ 651388 w 5794893"/>
              <a:gd name="connsiteY3858" fmla="*/ 3225035 h 6858000"/>
              <a:gd name="connsiteX3859" fmla="*/ 1123337 w 5794893"/>
              <a:gd name="connsiteY3859" fmla="*/ 3225035 h 6858000"/>
              <a:gd name="connsiteX3860" fmla="*/ 1080320 w 5794893"/>
              <a:gd name="connsiteY3860" fmla="*/ 3269280 h 6858000"/>
              <a:gd name="connsiteX3861" fmla="*/ 1167582 w 5794893"/>
              <a:gd name="connsiteY3861" fmla="*/ 3378663 h 6858000"/>
              <a:gd name="connsiteX3862" fmla="*/ 1210598 w 5794893"/>
              <a:gd name="connsiteY3862" fmla="*/ 3334418 h 6858000"/>
              <a:gd name="connsiteX3863" fmla="*/ 1123337 w 5794893"/>
              <a:gd name="connsiteY3863" fmla="*/ 3225035 h 6858000"/>
              <a:gd name="connsiteX3864" fmla="*/ 1241324 w 5794893"/>
              <a:gd name="connsiteY3864" fmla="*/ 3225035 h 6858000"/>
              <a:gd name="connsiteX3865" fmla="*/ 1200765 w 5794893"/>
              <a:gd name="connsiteY3865" fmla="*/ 3274196 h 6858000"/>
              <a:gd name="connsiteX3866" fmla="*/ 1297860 w 5794893"/>
              <a:gd name="connsiteY3866" fmla="*/ 3378663 h 6858000"/>
              <a:gd name="connsiteX3867" fmla="*/ 1338417 w 5794893"/>
              <a:gd name="connsiteY3867" fmla="*/ 3329502 h 6858000"/>
              <a:gd name="connsiteX3868" fmla="*/ 1241324 w 5794893"/>
              <a:gd name="connsiteY3868" fmla="*/ 3225035 h 6858000"/>
              <a:gd name="connsiteX3869" fmla="*/ 1359311 w 5794893"/>
              <a:gd name="connsiteY3869" fmla="*/ 3226263 h 6858000"/>
              <a:gd name="connsiteX3870" fmla="*/ 1319982 w 5794893"/>
              <a:gd name="connsiteY3870" fmla="*/ 3280341 h 6858000"/>
              <a:gd name="connsiteX3871" fmla="*/ 1426908 w 5794893"/>
              <a:gd name="connsiteY3871" fmla="*/ 3379893 h 6858000"/>
              <a:gd name="connsiteX3872" fmla="*/ 1466237 w 5794893"/>
              <a:gd name="connsiteY3872" fmla="*/ 3324586 h 6858000"/>
              <a:gd name="connsiteX3873" fmla="*/ 1359311 w 5794893"/>
              <a:gd name="connsiteY3873" fmla="*/ 3226263 h 6858000"/>
              <a:gd name="connsiteX3874" fmla="*/ 1477299 w 5794893"/>
              <a:gd name="connsiteY3874" fmla="*/ 3226263 h 6858000"/>
              <a:gd name="connsiteX3875" fmla="*/ 1440428 w 5794893"/>
              <a:gd name="connsiteY3875" fmla="*/ 3285257 h 6858000"/>
              <a:gd name="connsiteX3876" fmla="*/ 1557185 w 5794893"/>
              <a:gd name="connsiteY3876" fmla="*/ 3378663 h 6858000"/>
              <a:gd name="connsiteX3877" fmla="*/ 1594056 w 5794893"/>
              <a:gd name="connsiteY3877" fmla="*/ 3319670 h 6858000"/>
              <a:gd name="connsiteX3878" fmla="*/ 1477299 w 5794893"/>
              <a:gd name="connsiteY3878" fmla="*/ 3226263 h 6858000"/>
              <a:gd name="connsiteX3879" fmla="*/ 769375 w 5794893"/>
              <a:gd name="connsiteY3879" fmla="*/ 3226263 h 6858000"/>
              <a:gd name="connsiteX3880" fmla="*/ 720214 w 5794893"/>
              <a:gd name="connsiteY3880" fmla="*/ 3255760 h 6858000"/>
              <a:gd name="connsiteX3881" fmla="*/ 777978 w 5794893"/>
              <a:gd name="connsiteY3881" fmla="*/ 3379893 h 6858000"/>
              <a:gd name="connsiteX3882" fmla="*/ 827139 w 5794893"/>
              <a:gd name="connsiteY3882" fmla="*/ 3350396 h 6858000"/>
              <a:gd name="connsiteX3883" fmla="*/ 769375 w 5794893"/>
              <a:gd name="connsiteY3883" fmla="*/ 3226263 h 6858000"/>
              <a:gd name="connsiteX3884" fmla="*/ 887362 w 5794893"/>
              <a:gd name="connsiteY3884" fmla="*/ 3226263 h 6858000"/>
              <a:gd name="connsiteX3885" fmla="*/ 840659 w 5794893"/>
              <a:gd name="connsiteY3885" fmla="*/ 3260676 h 6858000"/>
              <a:gd name="connsiteX3886" fmla="*/ 908255 w 5794893"/>
              <a:gd name="connsiteY3886" fmla="*/ 3378663 h 6858000"/>
              <a:gd name="connsiteX3887" fmla="*/ 954959 w 5794893"/>
              <a:gd name="connsiteY3887" fmla="*/ 3344250 h 6858000"/>
              <a:gd name="connsiteX3888" fmla="*/ 887362 w 5794893"/>
              <a:gd name="connsiteY3888" fmla="*/ 3226263 h 6858000"/>
              <a:gd name="connsiteX3889" fmla="*/ 1005350 w 5794893"/>
              <a:gd name="connsiteY3889" fmla="*/ 3226263 h 6858000"/>
              <a:gd name="connsiteX3890" fmla="*/ 959875 w 5794893"/>
              <a:gd name="connsiteY3890" fmla="*/ 3265592 h 6858000"/>
              <a:gd name="connsiteX3891" fmla="*/ 1037304 w 5794893"/>
              <a:gd name="connsiteY3891" fmla="*/ 3378663 h 6858000"/>
              <a:gd name="connsiteX3892" fmla="*/ 1082778 w 5794893"/>
              <a:gd name="connsiteY3892" fmla="*/ 3339334 h 6858000"/>
              <a:gd name="connsiteX3893" fmla="*/ 1005350 w 5794893"/>
              <a:gd name="connsiteY3893" fmla="*/ 3226263 h 6858000"/>
              <a:gd name="connsiteX3894" fmla="*/ 415413 w 5794893"/>
              <a:gd name="connsiteY3894" fmla="*/ 3419222 h 6858000"/>
              <a:gd name="connsiteX3895" fmla="*/ 360106 w 5794893"/>
              <a:gd name="connsiteY3895" fmla="*/ 3433971 h 6858000"/>
              <a:gd name="connsiteX3896" fmla="*/ 389603 w 5794893"/>
              <a:gd name="connsiteY3896" fmla="*/ 3572851 h 6858000"/>
              <a:gd name="connsiteX3897" fmla="*/ 444910 w 5794893"/>
              <a:gd name="connsiteY3897" fmla="*/ 3556874 h 6858000"/>
              <a:gd name="connsiteX3898" fmla="*/ 415413 w 5794893"/>
              <a:gd name="connsiteY3898" fmla="*/ 3419222 h 6858000"/>
              <a:gd name="connsiteX3899" fmla="*/ 1359311 w 5794893"/>
              <a:gd name="connsiteY3899" fmla="*/ 3419222 h 6858000"/>
              <a:gd name="connsiteX3900" fmla="*/ 1319982 w 5794893"/>
              <a:gd name="connsiteY3900" fmla="*/ 3474528 h 6858000"/>
              <a:gd name="connsiteX3901" fmla="*/ 1426908 w 5794893"/>
              <a:gd name="connsiteY3901" fmla="*/ 3571622 h 6858000"/>
              <a:gd name="connsiteX3902" fmla="*/ 1466237 w 5794893"/>
              <a:gd name="connsiteY3902" fmla="*/ 3517545 h 6858000"/>
              <a:gd name="connsiteX3903" fmla="*/ 1359311 w 5794893"/>
              <a:gd name="connsiteY3903" fmla="*/ 3419222 h 6858000"/>
              <a:gd name="connsiteX3904" fmla="*/ 532171 w 5794893"/>
              <a:gd name="connsiteY3904" fmla="*/ 3420451 h 6858000"/>
              <a:gd name="connsiteX3905" fmla="*/ 479323 w 5794893"/>
              <a:gd name="connsiteY3905" fmla="*/ 3440115 h 6858000"/>
              <a:gd name="connsiteX3906" fmla="*/ 518652 w 5794893"/>
              <a:gd name="connsiteY3906" fmla="*/ 3574080 h 6858000"/>
              <a:gd name="connsiteX3907" fmla="*/ 571500 w 5794893"/>
              <a:gd name="connsiteY3907" fmla="*/ 3554416 h 6858000"/>
              <a:gd name="connsiteX3908" fmla="*/ 532171 w 5794893"/>
              <a:gd name="connsiteY3908" fmla="*/ 3420451 h 6858000"/>
              <a:gd name="connsiteX3909" fmla="*/ 651388 w 5794893"/>
              <a:gd name="connsiteY3909" fmla="*/ 3420451 h 6858000"/>
              <a:gd name="connsiteX3910" fmla="*/ 599769 w 5794893"/>
              <a:gd name="connsiteY3910" fmla="*/ 3445031 h 6858000"/>
              <a:gd name="connsiteX3911" fmla="*/ 648930 w 5794893"/>
              <a:gd name="connsiteY3911" fmla="*/ 3574080 h 6858000"/>
              <a:gd name="connsiteX3912" fmla="*/ 699320 w 5794893"/>
              <a:gd name="connsiteY3912" fmla="*/ 3549500 h 6858000"/>
              <a:gd name="connsiteX3913" fmla="*/ 651388 w 5794893"/>
              <a:gd name="connsiteY3913" fmla="*/ 3420451 h 6858000"/>
              <a:gd name="connsiteX3914" fmla="*/ 768145 w 5794893"/>
              <a:gd name="connsiteY3914" fmla="*/ 3420451 h 6858000"/>
              <a:gd name="connsiteX3915" fmla="*/ 720214 w 5794893"/>
              <a:gd name="connsiteY3915" fmla="*/ 3449947 h 6858000"/>
              <a:gd name="connsiteX3916" fmla="*/ 777978 w 5794893"/>
              <a:gd name="connsiteY3916" fmla="*/ 3572851 h 6858000"/>
              <a:gd name="connsiteX3917" fmla="*/ 827139 w 5794893"/>
              <a:gd name="connsiteY3917" fmla="*/ 3543354 h 6858000"/>
              <a:gd name="connsiteX3918" fmla="*/ 768145 w 5794893"/>
              <a:gd name="connsiteY3918" fmla="*/ 3420451 h 6858000"/>
              <a:gd name="connsiteX3919" fmla="*/ 887362 w 5794893"/>
              <a:gd name="connsiteY3919" fmla="*/ 3420451 h 6858000"/>
              <a:gd name="connsiteX3920" fmla="*/ 840659 w 5794893"/>
              <a:gd name="connsiteY3920" fmla="*/ 3454863 h 6858000"/>
              <a:gd name="connsiteX3921" fmla="*/ 908255 w 5794893"/>
              <a:gd name="connsiteY3921" fmla="*/ 3574080 h 6858000"/>
              <a:gd name="connsiteX3922" fmla="*/ 954959 w 5794893"/>
              <a:gd name="connsiteY3922" fmla="*/ 3539667 h 6858000"/>
              <a:gd name="connsiteX3923" fmla="*/ 887362 w 5794893"/>
              <a:gd name="connsiteY3923" fmla="*/ 3420451 h 6858000"/>
              <a:gd name="connsiteX3924" fmla="*/ 1005350 w 5794893"/>
              <a:gd name="connsiteY3924" fmla="*/ 3420451 h 6858000"/>
              <a:gd name="connsiteX3925" fmla="*/ 959875 w 5794893"/>
              <a:gd name="connsiteY3925" fmla="*/ 3459780 h 6858000"/>
              <a:gd name="connsiteX3926" fmla="*/ 1037304 w 5794893"/>
              <a:gd name="connsiteY3926" fmla="*/ 3572851 h 6858000"/>
              <a:gd name="connsiteX3927" fmla="*/ 1082778 w 5794893"/>
              <a:gd name="connsiteY3927" fmla="*/ 3533522 h 6858000"/>
              <a:gd name="connsiteX3928" fmla="*/ 1005350 w 5794893"/>
              <a:gd name="connsiteY3928" fmla="*/ 3420451 h 6858000"/>
              <a:gd name="connsiteX3929" fmla="*/ 1123337 w 5794893"/>
              <a:gd name="connsiteY3929" fmla="*/ 3420451 h 6858000"/>
              <a:gd name="connsiteX3930" fmla="*/ 1080320 w 5794893"/>
              <a:gd name="connsiteY3930" fmla="*/ 3464696 h 6858000"/>
              <a:gd name="connsiteX3931" fmla="*/ 1167582 w 5794893"/>
              <a:gd name="connsiteY3931" fmla="*/ 3574080 h 6858000"/>
              <a:gd name="connsiteX3932" fmla="*/ 1210598 w 5794893"/>
              <a:gd name="connsiteY3932" fmla="*/ 3529835 h 6858000"/>
              <a:gd name="connsiteX3933" fmla="*/ 1123337 w 5794893"/>
              <a:gd name="connsiteY3933" fmla="*/ 3420451 h 6858000"/>
              <a:gd name="connsiteX3934" fmla="*/ 1242552 w 5794893"/>
              <a:gd name="connsiteY3934" fmla="*/ 3420451 h 6858000"/>
              <a:gd name="connsiteX3935" fmla="*/ 1200765 w 5794893"/>
              <a:gd name="connsiteY3935" fmla="*/ 3469612 h 6858000"/>
              <a:gd name="connsiteX3936" fmla="*/ 1297860 w 5794893"/>
              <a:gd name="connsiteY3936" fmla="*/ 3574080 h 6858000"/>
              <a:gd name="connsiteX3937" fmla="*/ 1338417 w 5794893"/>
              <a:gd name="connsiteY3937" fmla="*/ 3524919 h 6858000"/>
              <a:gd name="connsiteX3938" fmla="*/ 1242552 w 5794893"/>
              <a:gd name="connsiteY3938" fmla="*/ 3420451 h 6858000"/>
              <a:gd name="connsiteX3939" fmla="*/ 178209 w 5794893"/>
              <a:gd name="connsiteY3939" fmla="*/ 3420451 h 6858000"/>
              <a:gd name="connsiteX3940" fmla="*/ 119216 w 5794893"/>
              <a:gd name="connsiteY3940" fmla="*/ 3425367 h 6858000"/>
              <a:gd name="connsiteX3941" fmla="*/ 129048 w 5794893"/>
              <a:gd name="connsiteY3941" fmla="*/ 3574080 h 6858000"/>
              <a:gd name="connsiteX3942" fmla="*/ 188042 w 5794893"/>
              <a:gd name="connsiteY3942" fmla="*/ 3569164 h 6858000"/>
              <a:gd name="connsiteX3943" fmla="*/ 178209 w 5794893"/>
              <a:gd name="connsiteY3943" fmla="*/ 3420451 h 6858000"/>
              <a:gd name="connsiteX3944" fmla="*/ 296197 w 5794893"/>
              <a:gd name="connsiteY3944" fmla="*/ 3420451 h 6858000"/>
              <a:gd name="connsiteX3945" fmla="*/ 239661 w 5794893"/>
              <a:gd name="connsiteY3945" fmla="*/ 3430283 h 6858000"/>
              <a:gd name="connsiteX3946" fmla="*/ 259326 w 5794893"/>
              <a:gd name="connsiteY3946" fmla="*/ 3574080 h 6858000"/>
              <a:gd name="connsiteX3947" fmla="*/ 315861 w 5794893"/>
              <a:gd name="connsiteY3947" fmla="*/ 3564248 h 6858000"/>
              <a:gd name="connsiteX3948" fmla="*/ 296197 w 5794893"/>
              <a:gd name="connsiteY3948" fmla="*/ 3420451 h 6858000"/>
              <a:gd name="connsiteX3949" fmla="*/ 415413 w 5794893"/>
              <a:gd name="connsiteY3949" fmla="*/ 3607264 h 6858000"/>
              <a:gd name="connsiteX3950" fmla="*/ 360106 w 5794893"/>
              <a:gd name="connsiteY3950" fmla="*/ 3622012 h 6858000"/>
              <a:gd name="connsiteX3951" fmla="*/ 389603 w 5794893"/>
              <a:gd name="connsiteY3951" fmla="*/ 3760894 h 6858000"/>
              <a:gd name="connsiteX3952" fmla="*/ 444910 w 5794893"/>
              <a:gd name="connsiteY3952" fmla="*/ 3746145 h 6858000"/>
              <a:gd name="connsiteX3953" fmla="*/ 415413 w 5794893"/>
              <a:gd name="connsiteY3953" fmla="*/ 3607264 h 6858000"/>
              <a:gd name="connsiteX3954" fmla="*/ 651388 w 5794893"/>
              <a:gd name="connsiteY3954" fmla="*/ 3607264 h 6858000"/>
              <a:gd name="connsiteX3955" fmla="*/ 599769 w 5794893"/>
              <a:gd name="connsiteY3955" fmla="*/ 3631844 h 6858000"/>
              <a:gd name="connsiteX3956" fmla="*/ 648930 w 5794893"/>
              <a:gd name="connsiteY3956" fmla="*/ 3760894 h 6858000"/>
              <a:gd name="connsiteX3957" fmla="*/ 699320 w 5794893"/>
              <a:gd name="connsiteY3957" fmla="*/ 3736313 h 6858000"/>
              <a:gd name="connsiteX3958" fmla="*/ 651388 w 5794893"/>
              <a:gd name="connsiteY3958" fmla="*/ 3607264 h 6858000"/>
              <a:gd name="connsiteX3959" fmla="*/ 1123337 w 5794893"/>
              <a:gd name="connsiteY3959" fmla="*/ 3607264 h 6858000"/>
              <a:gd name="connsiteX3960" fmla="*/ 1080320 w 5794893"/>
              <a:gd name="connsiteY3960" fmla="*/ 3652739 h 6858000"/>
              <a:gd name="connsiteX3961" fmla="*/ 1167582 w 5794893"/>
              <a:gd name="connsiteY3961" fmla="*/ 3760894 h 6858000"/>
              <a:gd name="connsiteX3962" fmla="*/ 1210598 w 5794893"/>
              <a:gd name="connsiteY3962" fmla="*/ 3716648 h 6858000"/>
              <a:gd name="connsiteX3963" fmla="*/ 1123337 w 5794893"/>
              <a:gd name="connsiteY3963" fmla="*/ 3607264 h 6858000"/>
              <a:gd name="connsiteX3964" fmla="*/ 1241324 w 5794893"/>
              <a:gd name="connsiteY3964" fmla="*/ 3607264 h 6858000"/>
              <a:gd name="connsiteX3965" fmla="*/ 1199537 w 5794893"/>
              <a:gd name="connsiteY3965" fmla="*/ 3657655 h 6858000"/>
              <a:gd name="connsiteX3966" fmla="*/ 1297860 w 5794893"/>
              <a:gd name="connsiteY3966" fmla="*/ 3760894 h 6858000"/>
              <a:gd name="connsiteX3967" fmla="*/ 1338417 w 5794893"/>
              <a:gd name="connsiteY3967" fmla="*/ 3711732 h 6858000"/>
              <a:gd name="connsiteX3968" fmla="*/ 1241324 w 5794893"/>
              <a:gd name="connsiteY3968" fmla="*/ 3607264 h 6858000"/>
              <a:gd name="connsiteX3969" fmla="*/ 1359311 w 5794893"/>
              <a:gd name="connsiteY3969" fmla="*/ 3607264 h 6858000"/>
              <a:gd name="connsiteX3970" fmla="*/ 1319982 w 5794893"/>
              <a:gd name="connsiteY3970" fmla="*/ 3662571 h 6858000"/>
              <a:gd name="connsiteX3971" fmla="*/ 1426908 w 5794893"/>
              <a:gd name="connsiteY3971" fmla="*/ 3759664 h 6858000"/>
              <a:gd name="connsiteX3972" fmla="*/ 1466237 w 5794893"/>
              <a:gd name="connsiteY3972" fmla="*/ 3705586 h 6858000"/>
              <a:gd name="connsiteX3973" fmla="*/ 1359311 w 5794893"/>
              <a:gd name="connsiteY3973" fmla="*/ 3607264 h 6858000"/>
              <a:gd name="connsiteX3974" fmla="*/ 769375 w 5794893"/>
              <a:gd name="connsiteY3974" fmla="*/ 3608493 h 6858000"/>
              <a:gd name="connsiteX3975" fmla="*/ 720214 w 5794893"/>
              <a:gd name="connsiteY3975" fmla="*/ 3639219 h 6858000"/>
              <a:gd name="connsiteX3976" fmla="*/ 777978 w 5794893"/>
              <a:gd name="connsiteY3976" fmla="*/ 3762122 h 6858000"/>
              <a:gd name="connsiteX3977" fmla="*/ 827139 w 5794893"/>
              <a:gd name="connsiteY3977" fmla="*/ 3732625 h 6858000"/>
              <a:gd name="connsiteX3978" fmla="*/ 769375 w 5794893"/>
              <a:gd name="connsiteY3978" fmla="*/ 3608493 h 6858000"/>
              <a:gd name="connsiteX3979" fmla="*/ 1005350 w 5794893"/>
              <a:gd name="connsiteY3979" fmla="*/ 3608493 h 6858000"/>
              <a:gd name="connsiteX3980" fmla="*/ 959875 w 5794893"/>
              <a:gd name="connsiteY3980" fmla="*/ 3649051 h 6858000"/>
              <a:gd name="connsiteX3981" fmla="*/ 1037304 w 5794893"/>
              <a:gd name="connsiteY3981" fmla="*/ 3762122 h 6858000"/>
              <a:gd name="connsiteX3982" fmla="*/ 1082778 w 5794893"/>
              <a:gd name="connsiteY3982" fmla="*/ 3722793 h 6858000"/>
              <a:gd name="connsiteX3983" fmla="*/ 1005350 w 5794893"/>
              <a:gd name="connsiteY3983" fmla="*/ 3608493 h 6858000"/>
              <a:gd name="connsiteX3984" fmla="*/ 887362 w 5794893"/>
              <a:gd name="connsiteY3984" fmla="*/ 3609722 h 6858000"/>
              <a:gd name="connsiteX3985" fmla="*/ 840659 w 5794893"/>
              <a:gd name="connsiteY3985" fmla="*/ 3644135 h 6858000"/>
              <a:gd name="connsiteX3986" fmla="*/ 908255 w 5794893"/>
              <a:gd name="connsiteY3986" fmla="*/ 3762122 h 6858000"/>
              <a:gd name="connsiteX3987" fmla="*/ 954959 w 5794893"/>
              <a:gd name="connsiteY3987" fmla="*/ 3728939 h 6858000"/>
              <a:gd name="connsiteX3988" fmla="*/ 887362 w 5794893"/>
              <a:gd name="connsiteY3988" fmla="*/ 3609722 h 6858000"/>
              <a:gd name="connsiteX3989" fmla="*/ 532171 w 5794893"/>
              <a:gd name="connsiteY3989" fmla="*/ 3608493 h 6858000"/>
              <a:gd name="connsiteX3990" fmla="*/ 479323 w 5794893"/>
              <a:gd name="connsiteY3990" fmla="*/ 3628158 h 6858000"/>
              <a:gd name="connsiteX3991" fmla="*/ 518652 w 5794893"/>
              <a:gd name="connsiteY3991" fmla="*/ 3760894 h 6858000"/>
              <a:gd name="connsiteX3992" fmla="*/ 571500 w 5794893"/>
              <a:gd name="connsiteY3992" fmla="*/ 3742457 h 6858000"/>
              <a:gd name="connsiteX3993" fmla="*/ 532171 w 5794893"/>
              <a:gd name="connsiteY3993" fmla="*/ 3608493 h 6858000"/>
              <a:gd name="connsiteX3994" fmla="*/ 178209 w 5794893"/>
              <a:gd name="connsiteY3994" fmla="*/ 3608493 h 6858000"/>
              <a:gd name="connsiteX3995" fmla="*/ 119216 w 5794893"/>
              <a:gd name="connsiteY3995" fmla="*/ 3613409 h 6858000"/>
              <a:gd name="connsiteX3996" fmla="*/ 129048 w 5794893"/>
              <a:gd name="connsiteY3996" fmla="*/ 3762122 h 6858000"/>
              <a:gd name="connsiteX3997" fmla="*/ 188042 w 5794893"/>
              <a:gd name="connsiteY3997" fmla="*/ 3757206 h 6858000"/>
              <a:gd name="connsiteX3998" fmla="*/ 178209 w 5794893"/>
              <a:gd name="connsiteY3998" fmla="*/ 3608493 h 6858000"/>
              <a:gd name="connsiteX3999" fmla="*/ 296197 w 5794893"/>
              <a:gd name="connsiteY3999" fmla="*/ 3608493 h 6858000"/>
              <a:gd name="connsiteX4000" fmla="*/ 239661 w 5794893"/>
              <a:gd name="connsiteY4000" fmla="*/ 3618326 h 6858000"/>
              <a:gd name="connsiteX4001" fmla="*/ 259326 w 5794893"/>
              <a:gd name="connsiteY4001" fmla="*/ 3762122 h 6858000"/>
              <a:gd name="connsiteX4002" fmla="*/ 315861 w 5794893"/>
              <a:gd name="connsiteY4002" fmla="*/ 3752290 h 6858000"/>
              <a:gd name="connsiteX4003" fmla="*/ 296197 w 5794893"/>
              <a:gd name="connsiteY4003" fmla="*/ 3608493 h 6858000"/>
              <a:gd name="connsiteX4004" fmla="*/ 178209 w 5794893"/>
              <a:gd name="connsiteY4004" fmla="*/ 3798993 h 6858000"/>
              <a:gd name="connsiteX4005" fmla="*/ 119216 w 5794893"/>
              <a:gd name="connsiteY4005" fmla="*/ 3803909 h 6858000"/>
              <a:gd name="connsiteX4006" fmla="*/ 129048 w 5794893"/>
              <a:gd name="connsiteY4006" fmla="*/ 3952623 h 6858000"/>
              <a:gd name="connsiteX4007" fmla="*/ 188042 w 5794893"/>
              <a:gd name="connsiteY4007" fmla="*/ 3947707 h 6858000"/>
              <a:gd name="connsiteX4008" fmla="*/ 178209 w 5794893"/>
              <a:gd name="connsiteY4008" fmla="*/ 3798993 h 6858000"/>
              <a:gd name="connsiteX4009" fmla="*/ 296197 w 5794893"/>
              <a:gd name="connsiteY4009" fmla="*/ 3798993 h 6858000"/>
              <a:gd name="connsiteX4010" fmla="*/ 239661 w 5794893"/>
              <a:gd name="connsiteY4010" fmla="*/ 3808825 h 6858000"/>
              <a:gd name="connsiteX4011" fmla="*/ 259326 w 5794893"/>
              <a:gd name="connsiteY4011" fmla="*/ 3952623 h 6858000"/>
              <a:gd name="connsiteX4012" fmla="*/ 315861 w 5794893"/>
              <a:gd name="connsiteY4012" fmla="*/ 3942790 h 6858000"/>
              <a:gd name="connsiteX4013" fmla="*/ 296197 w 5794893"/>
              <a:gd name="connsiteY4013" fmla="*/ 3798993 h 6858000"/>
              <a:gd name="connsiteX4014" fmla="*/ 651388 w 5794893"/>
              <a:gd name="connsiteY4014" fmla="*/ 3798993 h 6858000"/>
              <a:gd name="connsiteX4015" fmla="*/ 599769 w 5794893"/>
              <a:gd name="connsiteY4015" fmla="*/ 3823574 h 6858000"/>
              <a:gd name="connsiteX4016" fmla="*/ 648930 w 5794893"/>
              <a:gd name="connsiteY4016" fmla="*/ 3952623 h 6858000"/>
              <a:gd name="connsiteX4017" fmla="*/ 699320 w 5794893"/>
              <a:gd name="connsiteY4017" fmla="*/ 3928042 h 6858000"/>
              <a:gd name="connsiteX4018" fmla="*/ 651388 w 5794893"/>
              <a:gd name="connsiteY4018" fmla="*/ 3798993 h 6858000"/>
              <a:gd name="connsiteX4019" fmla="*/ 887362 w 5794893"/>
              <a:gd name="connsiteY4019" fmla="*/ 3798993 h 6858000"/>
              <a:gd name="connsiteX4020" fmla="*/ 840659 w 5794893"/>
              <a:gd name="connsiteY4020" fmla="*/ 3833406 h 6858000"/>
              <a:gd name="connsiteX4021" fmla="*/ 908255 w 5794893"/>
              <a:gd name="connsiteY4021" fmla="*/ 3952623 h 6858000"/>
              <a:gd name="connsiteX4022" fmla="*/ 954959 w 5794893"/>
              <a:gd name="connsiteY4022" fmla="*/ 3918210 h 6858000"/>
              <a:gd name="connsiteX4023" fmla="*/ 887362 w 5794893"/>
              <a:gd name="connsiteY4023" fmla="*/ 3798993 h 6858000"/>
              <a:gd name="connsiteX4024" fmla="*/ 1005350 w 5794893"/>
              <a:gd name="connsiteY4024" fmla="*/ 3800223 h 6858000"/>
              <a:gd name="connsiteX4025" fmla="*/ 959875 w 5794893"/>
              <a:gd name="connsiteY4025" fmla="*/ 3839552 h 6858000"/>
              <a:gd name="connsiteX4026" fmla="*/ 1037304 w 5794893"/>
              <a:gd name="connsiteY4026" fmla="*/ 3952623 h 6858000"/>
              <a:gd name="connsiteX4027" fmla="*/ 1082778 w 5794893"/>
              <a:gd name="connsiteY4027" fmla="*/ 3913294 h 6858000"/>
              <a:gd name="connsiteX4028" fmla="*/ 1005350 w 5794893"/>
              <a:gd name="connsiteY4028" fmla="*/ 3800223 h 6858000"/>
              <a:gd name="connsiteX4029" fmla="*/ 1123337 w 5794893"/>
              <a:gd name="connsiteY4029" fmla="*/ 3800223 h 6858000"/>
              <a:gd name="connsiteX4030" fmla="*/ 1080320 w 5794893"/>
              <a:gd name="connsiteY4030" fmla="*/ 3844468 h 6858000"/>
              <a:gd name="connsiteX4031" fmla="*/ 1167582 w 5794893"/>
              <a:gd name="connsiteY4031" fmla="*/ 3952623 h 6858000"/>
              <a:gd name="connsiteX4032" fmla="*/ 1210598 w 5794893"/>
              <a:gd name="connsiteY4032" fmla="*/ 3908378 h 6858000"/>
              <a:gd name="connsiteX4033" fmla="*/ 1123337 w 5794893"/>
              <a:gd name="connsiteY4033" fmla="*/ 3800223 h 6858000"/>
              <a:gd name="connsiteX4034" fmla="*/ 1241324 w 5794893"/>
              <a:gd name="connsiteY4034" fmla="*/ 3800223 h 6858000"/>
              <a:gd name="connsiteX4035" fmla="*/ 1199537 w 5794893"/>
              <a:gd name="connsiteY4035" fmla="*/ 3849384 h 6858000"/>
              <a:gd name="connsiteX4036" fmla="*/ 1297860 w 5794893"/>
              <a:gd name="connsiteY4036" fmla="*/ 3953851 h 6858000"/>
              <a:gd name="connsiteX4037" fmla="*/ 1338417 w 5794893"/>
              <a:gd name="connsiteY4037" fmla="*/ 3904690 h 6858000"/>
              <a:gd name="connsiteX4038" fmla="*/ 1241324 w 5794893"/>
              <a:gd name="connsiteY4038" fmla="*/ 3800223 h 6858000"/>
              <a:gd name="connsiteX4039" fmla="*/ 1359311 w 5794893"/>
              <a:gd name="connsiteY4039" fmla="*/ 3800223 h 6858000"/>
              <a:gd name="connsiteX4040" fmla="*/ 1319982 w 5794893"/>
              <a:gd name="connsiteY4040" fmla="*/ 3854300 h 6858000"/>
              <a:gd name="connsiteX4041" fmla="*/ 1426908 w 5794893"/>
              <a:gd name="connsiteY4041" fmla="*/ 3952623 h 6858000"/>
              <a:gd name="connsiteX4042" fmla="*/ 1466237 w 5794893"/>
              <a:gd name="connsiteY4042" fmla="*/ 3898545 h 6858000"/>
              <a:gd name="connsiteX4043" fmla="*/ 1359311 w 5794893"/>
              <a:gd name="connsiteY4043" fmla="*/ 3800223 h 6858000"/>
              <a:gd name="connsiteX4044" fmla="*/ 769375 w 5794893"/>
              <a:gd name="connsiteY4044" fmla="*/ 3800223 h 6858000"/>
              <a:gd name="connsiteX4045" fmla="*/ 720214 w 5794893"/>
              <a:gd name="connsiteY4045" fmla="*/ 3829719 h 6858000"/>
              <a:gd name="connsiteX4046" fmla="*/ 777978 w 5794893"/>
              <a:gd name="connsiteY4046" fmla="*/ 3953851 h 6858000"/>
              <a:gd name="connsiteX4047" fmla="*/ 827139 w 5794893"/>
              <a:gd name="connsiteY4047" fmla="*/ 3924354 h 6858000"/>
              <a:gd name="connsiteX4048" fmla="*/ 769375 w 5794893"/>
              <a:gd name="connsiteY4048" fmla="*/ 3800223 h 6858000"/>
              <a:gd name="connsiteX4049" fmla="*/ 415413 w 5794893"/>
              <a:gd name="connsiteY4049" fmla="*/ 3800223 h 6858000"/>
              <a:gd name="connsiteX4050" fmla="*/ 360106 w 5794893"/>
              <a:gd name="connsiteY4050" fmla="*/ 3814971 h 6858000"/>
              <a:gd name="connsiteX4051" fmla="*/ 389603 w 5794893"/>
              <a:gd name="connsiteY4051" fmla="*/ 3952623 h 6858000"/>
              <a:gd name="connsiteX4052" fmla="*/ 444910 w 5794893"/>
              <a:gd name="connsiteY4052" fmla="*/ 3939103 h 6858000"/>
              <a:gd name="connsiteX4053" fmla="*/ 415413 w 5794893"/>
              <a:gd name="connsiteY4053" fmla="*/ 3800223 h 6858000"/>
              <a:gd name="connsiteX4054" fmla="*/ 532171 w 5794893"/>
              <a:gd name="connsiteY4054" fmla="*/ 3800223 h 6858000"/>
              <a:gd name="connsiteX4055" fmla="*/ 479323 w 5794893"/>
              <a:gd name="connsiteY4055" fmla="*/ 3819887 h 6858000"/>
              <a:gd name="connsiteX4056" fmla="*/ 518652 w 5794893"/>
              <a:gd name="connsiteY4056" fmla="*/ 3952623 h 6858000"/>
              <a:gd name="connsiteX4057" fmla="*/ 571500 w 5794893"/>
              <a:gd name="connsiteY4057" fmla="*/ 3934187 h 6858000"/>
              <a:gd name="connsiteX4058" fmla="*/ 532171 w 5794893"/>
              <a:gd name="connsiteY4058" fmla="*/ 3800223 h 6858000"/>
              <a:gd name="connsiteX4059" fmla="*/ 1240094 w 5794893"/>
              <a:gd name="connsiteY4059" fmla="*/ 3990722 h 6858000"/>
              <a:gd name="connsiteX4060" fmla="*/ 1198307 w 5794893"/>
              <a:gd name="connsiteY4060" fmla="*/ 4039883 h 6858000"/>
              <a:gd name="connsiteX4061" fmla="*/ 1200765 w 5794893"/>
              <a:gd name="connsiteY4061" fmla="*/ 4042342 h 6858000"/>
              <a:gd name="connsiteX4062" fmla="*/ 1199537 w 5794893"/>
              <a:gd name="connsiteY4062" fmla="*/ 4044800 h 6858000"/>
              <a:gd name="connsiteX4063" fmla="*/ 1296630 w 5794893"/>
              <a:gd name="connsiteY4063" fmla="*/ 4149268 h 6858000"/>
              <a:gd name="connsiteX4064" fmla="*/ 1338417 w 5794893"/>
              <a:gd name="connsiteY4064" fmla="*/ 4100107 h 6858000"/>
              <a:gd name="connsiteX4065" fmla="*/ 1335959 w 5794893"/>
              <a:gd name="connsiteY4065" fmla="*/ 4097649 h 6858000"/>
              <a:gd name="connsiteX4066" fmla="*/ 1337189 w 5794893"/>
              <a:gd name="connsiteY4066" fmla="*/ 4095191 h 6858000"/>
              <a:gd name="connsiteX4067" fmla="*/ 1240094 w 5794893"/>
              <a:gd name="connsiteY4067" fmla="*/ 3990722 h 6858000"/>
              <a:gd name="connsiteX4068" fmla="*/ 1359311 w 5794893"/>
              <a:gd name="connsiteY4068" fmla="*/ 3991952 h 6858000"/>
              <a:gd name="connsiteX4069" fmla="*/ 1319982 w 5794893"/>
              <a:gd name="connsiteY4069" fmla="*/ 4046029 h 6858000"/>
              <a:gd name="connsiteX4070" fmla="*/ 1322440 w 5794893"/>
              <a:gd name="connsiteY4070" fmla="*/ 4048487 h 6858000"/>
              <a:gd name="connsiteX4071" fmla="*/ 1321211 w 5794893"/>
              <a:gd name="connsiteY4071" fmla="*/ 4050945 h 6858000"/>
              <a:gd name="connsiteX4072" fmla="*/ 1428137 w 5794893"/>
              <a:gd name="connsiteY4072" fmla="*/ 4149268 h 6858000"/>
              <a:gd name="connsiteX4073" fmla="*/ 1467466 w 5794893"/>
              <a:gd name="connsiteY4073" fmla="*/ 4095191 h 6858000"/>
              <a:gd name="connsiteX4074" fmla="*/ 1465008 w 5794893"/>
              <a:gd name="connsiteY4074" fmla="*/ 4092733 h 6858000"/>
              <a:gd name="connsiteX4075" fmla="*/ 1466237 w 5794893"/>
              <a:gd name="connsiteY4075" fmla="*/ 4090275 h 6858000"/>
              <a:gd name="connsiteX4076" fmla="*/ 1359311 w 5794893"/>
              <a:gd name="connsiteY4076" fmla="*/ 3991952 h 6858000"/>
              <a:gd name="connsiteX4077" fmla="*/ 178209 w 5794893"/>
              <a:gd name="connsiteY4077" fmla="*/ 3991952 h 6858000"/>
              <a:gd name="connsiteX4078" fmla="*/ 119216 w 5794893"/>
              <a:gd name="connsiteY4078" fmla="*/ 3996868 h 6858000"/>
              <a:gd name="connsiteX4079" fmla="*/ 119216 w 5794893"/>
              <a:gd name="connsiteY4079" fmla="*/ 4000554 h 6858000"/>
              <a:gd name="connsiteX4080" fmla="*/ 129048 w 5794893"/>
              <a:gd name="connsiteY4080" fmla="*/ 4149268 h 6858000"/>
              <a:gd name="connsiteX4081" fmla="*/ 188042 w 5794893"/>
              <a:gd name="connsiteY4081" fmla="*/ 4144352 h 6858000"/>
              <a:gd name="connsiteX4082" fmla="*/ 188042 w 5794893"/>
              <a:gd name="connsiteY4082" fmla="*/ 4140664 h 6858000"/>
              <a:gd name="connsiteX4083" fmla="*/ 178209 w 5794893"/>
              <a:gd name="connsiteY4083" fmla="*/ 3991952 h 6858000"/>
              <a:gd name="connsiteX4084" fmla="*/ 296197 w 5794893"/>
              <a:gd name="connsiteY4084" fmla="*/ 3991952 h 6858000"/>
              <a:gd name="connsiteX4085" fmla="*/ 239661 w 5794893"/>
              <a:gd name="connsiteY4085" fmla="*/ 4001784 h 6858000"/>
              <a:gd name="connsiteX4086" fmla="*/ 240891 w 5794893"/>
              <a:gd name="connsiteY4086" fmla="*/ 4006700 h 6858000"/>
              <a:gd name="connsiteX4087" fmla="*/ 239661 w 5794893"/>
              <a:gd name="connsiteY4087" fmla="*/ 4006700 h 6858000"/>
              <a:gd name="connsiteX4088" fmla="*/ 259326 w 5794893"/>
              <a:gd name="connsiteY4088" fmla="*/ 4150497 h 6858000"/>
              <a:gd name="connsiteX4089" fmla="*/ 315861 w 5794893"/>
              <a:gd name="connsiteY4089" fmla="*/ 4140664 h 6858000"/>
              <a:gd name="connsiteX4090" fmla="*/ 314633 w 5794893"/>
              <a:gd name="connsiteY4090" fmla="*/ 4135748 h 6858000"/>
              <a:gd name="connsiteX4091" fmla="*/ 315861 w 5794893"/>
              <a:gd name="connsiteY4091" fmla="*/ 4135748 h 6858000"/>
              <a:gd name="connsiteX4092" fmla="*/ 296197 w 5794893"/>
              <a:gd name="connsiteY4092" fmla="*/ 3991952 h 6858000"/>
              <a:gd name="connsiteX4093" fmla="*/ 415413 w 5794893"/>
              <a:gd name="connsiteY4093" fmla="*/ 3991952 h 6858000"/>
              <a:gd name="connsiteX4094" fmla="*/ 360106 w 5794893"/>
              <a:gd name="connsiteY4094" fmla="*/ 4006700 h 6858000"/>
              <a:gd name="connsiteX4095" fmla="*/ 361336 w 5794893"/>
              <a:gd name="connsiteY4095" fmla="*/ 4011616 h 6858000"/>
              <a:gd name="connsiteX4096" fmla="*/ 360106 w 5794893"/>
              <a:gd name="connsiteY4096" fmla="*/ 4011616 h 6858000"/>
              <a:gd name="connsiteX4097" fmla="*/ 388375 w 5794893"/>
              <a:gd name="connsiteY4097" fmla="*/ 4150497 h 6858000"/>
              <a:gd name="connsiteX4098" fmla="*/ 443681 w 5794893"/>
              <a:gd name="connsiteY4098" fmla="*/ 4134520 h 6858000"/>
              <a:gd name="connsiteX4099" fmla="*/ 443681 w 5794893"/>
              <a:gd name="connsiteY4099" fmla="*/ 4129604 h 6858000"/>
              <a:gd name="connsiteX4100" fmla="*/ 444910 w 5794893"/>
              <a:gd name="connsiteY4100" fmla="*/ 4129604 h 6858000"/>
              <a:gd name="connsiteX4101" fmla="*/ 415413 w 5794893"/>
              <a:gd name="connsiteY4101" fmla="*/ 3991952 h 6858000"/>
              <a:gd name="connsiteX4102" fmla="*/ 532171 w 5794893"/>
              <a:gd name="connsiteY4102" fmla="*/ 3991952 h 6858000"/>
              <a:gd name="connsiteX4103" fmla="*/ 479323 w 5794893"/>
              <a:gd name="connsiteY4103" fmla="*/ 4011616 h 6858000"/>
              <a:gd name="connsiteX4104" fmla="*/ 480552 w 5794893"/>
              <a:gd name="connsiteY4104" fmla="*/ 4015303 h 6858000"/>
              <a:gd name="connsiteX4105" fmla="*/ 479323 w 5794893"/>
              <a:gd name="connsiteY4105" fmla="*/ 4015303 h 6858000"/>
              <a:gd name="connsiteX4106" fmla="*/ 518652 w 5794893"/>
              <a:gd name="connsiteY4106" fmla="*/ 4149268 h 6858000"/>
              <a:gd name="connsiteX4107" fmla="*/ 571500 w 5794893"/>
              <a:gd name="connsiteY4107" fmla="*/ 4129604 h 6858000"/>
              <a:gd name="connsiteX4108" fmla="*/ 570272 w 5794893"/>
              <a:gd name="connsiteY4108" fmla="*/ 4125916 h 6858000"/>
              <a:gd name="connsiteX4109" fmla="*/ 571500 w 5794893"/>
              <a:gd name="connsiteY4109" fmla="*/ 4125916 h 6858000"/>
              <a:gd name="connsiteX4110" fmla="*/ 532171 w 5794893"/>
              <a:gd name="connsiteY4110" fmla="*/ 3991952 h 6858000"/>
              <a:gd name="connsiteX4111" fmla="*/ 651388 w 5794893"/>
              <a:gd name="connsiteY4111" fmla="*/ 3991952 h 6858000"/>
              <a:gd name="connsiteX4112" fmla="*/ 599769 w 5794893"/>
              <a:gd name="connsiteY4112" fmla="*/ 4016532 h 6858000"/>
              <a:gd name="connsiteX4113" fmla="*/ 600997 w 5794893"/>
              <a:gd name="connsiteY4113" fmla="*/ 4020219 h 6858000"/>
              <a:gd name="connsiteX4114" fmla="*/ 599769 w 5794893"/>
              <a:gd name="connsiteY4114" fmla="*/ 4020219 h 6858000"/>
              <a:gd name="connsiteX4115" fmla="*/ 648930 w 5794893"/>
              <a:gd name="connsiteY4115" fmla="*/ 4149268 h 6858000"/>
              <a:gd name="connsiteX4116" fmla="*/ 699320 w 5794893"/>
              <a:gd name="connsiteY4116" fmla="*/ 4124687 h 6858000"/>
              <a:gd name="connsiteX4117" fmla="*/ 698091 w 5794893"/>
              <a:gd name="connsiteY4117" fmla="*/ 4121000 h 6858000"/>
              <a:gd name="connsiteX4118" fmla="*/ 699320 w 5794893"/>
              <a:gd name="connsiteY4118" fmla="*/ 4121000 h 6858000"/>
              <a:gd name="connsiteX4119" fmla="*/ 651388 w 5794893"/>
              <a:gd name="connsiteY4119" fmla="*/ 3991952 h 6858000"/>
              <a:gd name="connsiteX4120" fmla="*/ 769375 w 5794893"/>
              <a:gd name="connsiteY4120" fmla="*/ 3991952 h 6858000"/>
              <a:gd name="connsiteX4121" fmla="*/ 720214 w 5794893"/>
              <a:gd name="connsiteY4121" fmla="*/ 4021449 h 6858000"/>
              <a:gd name="connsiteX4122" fmla="*/ 722672 w 5794893"/>
              <a:gd name="connsiteY4122" fmla="*/ 4023907 h 6858000"/>
              <a:gd name="connsiteX4123" fmla="*/ 721442 w 5794893"/>
              <a:gd name="connsiteY4123" fmla="*/ 4025135 h 6858000"/>
              <a:gd name="connsiteX4124" fmla="*/ 779207 w 5794893"/>
              <a:gd name="connsiteY4124" fmla="*/ 4149268 h 6858000"/>
              <a:gd name="connsiteX4125" fmla="*/ 828369 w 5794893"/>
              <a:gd name="connsiteY4125" fmla="*/ 4119771 h 6858000"/>
              <a:gd name="connsiteX4126" fmla="*/ 827139 w 5794893"/>
              <a:gd name="connsiteY4126" fmla="*/ 4116084 h 6858000"/>
              <a:gd name="connsiteX4127" fmla="*/ 828369 w 5794893"/>
              <a:gd name="connsiteY4127" fmla="*/ 4114855 h 6858000"/>
              <a:gd name="connsiteX4128" fmla="*/ 769375 w 5794893"/>
              <a:gd name="connsiteY4128" fmla="*/ 3991952 h 6858000"/>
              <a:gd name="connsiteX4129" fmla="*/ 1005350 w 5794893"/>
              <a:gd name="connsiteY4129" fmla="*/ 3991952 h 6858000"/>
              <a:gd name="connsiteX4130" fmla="*/ 959875 w 5794893"/>
              <a:gd name="connsiteY4130" fmla="*/ 4031281 h 6858000"/>
              <a:gd name="connsiteX4131" fmla="*/ 962333 w 5794893"/>
              <a:gd name="connsiteY4131" fmla="*/ 4033739 h 6858000"/>
              <a:gd name="connsiteX4132" fmla="*/ 959875 w 5794893"/>
              <a:gd name="connsiteY4132" fmla="*/ 4034967 h 6858000"/>
              <a:gd name="connsiteX4133" fmla="*/ 1037304 w 5794893"/>
              <a:gd name="connsiteY4133" fmla="*/ 4148039 h 6858000"/>
              <a:gd name="connsiteX4134" fmla="*/ 1082778 w 5794893"/>
              <a:gd name="connsiteY4134" fmla="*/ 4108709 h 6858000"/>
              <a:gd name="connsiteX4135" fmla="*/ 1081550 w 5794893"/>
              <a:gd name="connsiteY4135" fmla="*/ 4106251 h 6858000"/>
              <a:gd name="connsiteX4136" fmla="*/ 1082778 w 5794893"/>
              <a:gd name="connsiteY4136" fmla="*/ 4105023 h 6858000"/>
              <a:gd name="connsiteX4137" fmla="*/ 1005350 w 5794893"/>
              <a:gd name="connsiteY4137" fmla="*/ 3991952 h 6858000"/>
              <a:gd name="connsiteX4138" fmla="*/ 1123337 w 5794893"/>
              <a:gd name="connsiteY4138" fmla="*/ 3991952 h 6858000"/>
              <a:gd name="connsiteX4139" fmla="*/ 1080320 w 5794893"/>
              <a:gd name="connsiteY4139" fmla="*/ 4036197 h 6858000"/>
              <a:gd name="connsiteX4140" fmla="*/ 1081550 w 5794893"/>
              <a:gd name="connsiteY4140" fmla="*/ 4041113 h 6858000"/>
              <a:gd name="connsiteX4141" fmla="*/ 1080320 w 5794893"/>
              <a:gd name="connsiteY4141" fmla="*/ 4042342 h 6858000"/>
              <a:gd name="connsiteX4142" fmla="*/ 1167582 w 5794893"/>
              <a:gd name="connsiteY4142" fmla="*/ 4150497 h 6858000"/>
              <a:gd name="connsiteX4143" fmla="*/ 1210598 w 5794893"/>
              <a:gd name="connsiteY4143" fmla="*/ 4106251 h 6858000"/>
              <a:gd name="connsiteX4144" fmla="*/ 1209369 w 5794893"/>
              <a:gd name="connsiteY4144" fmla="*/ 4103793 h 6858000"/>
              <a:gd name="connsiteX4145" fmla="*/ 1210598 w 5794893"/>
              <a:gd name="connsiteY4145" fmla="*/ 4101335 h 6858000"/>
              <a:gd name="connsiteX4146" fmla="*/ 1123337 w 5794893"/>
              <a:gd name="connsiteY4146" fmla="*/ 3991952 h 6858000"/>
              <a:gd name="connsiteX4147" fmla="*/ 887362 w 5794893"/>
              <a:gd name="connsiteY4147" fmla="*/ 3993180 h 6858000"/>
              <a:gd name="connsiteX4148" fmla="*/ 840659 w 5794893"/>
              <a:gd name="connsiteY4148" fmla="*/ 4027593 h 6858000"/>
              <a:gd name="connsiteX4149" fmla="*/ 841887 w 5794893"/>
              <a:gd name="connsiteY4149" fmla="*/ 4030051 h 6858000"/>
              <a:gd name="connsiteX4150" fmla="*/ 840659 w 5794893"/>
              <a:gd name="connsiteY4150" fmla="*/ 4031281 h 6858000"/>
              <a:gd name="connsiteX4151" fmla="*/ 908255 w 5794893"/>
              <a:gd name="connsiteY4151" fmla="*/ 4149268 h 6858000"/>
              <a:gd name="connsiteX4152" fmla="*/ 954959 w 5794893"/>
              <a:gd name="connsiteY4152" fmla="*/ 4114855 h 6858000"/>
              <a:gd name="connsiteX4153" fmla="*/ 953730 w 5794893"/>
              <a:gd name="connsiteY4153" fmla="*/ 4112397 h 6858000"/>
              <a:gd name="connsiteX4154" fmla="*/ 954959 w 5794893"/>
              <a:gd name="connsiteY4154" fmla="*/ 4111167 h 6858000"/>
              <a:gd name="connsiteX4155" fmla="*/ 887362 w 5794893"/>
              <a:gd name="connsiteY4155" fmla="*/ 3993180 h 6858000"/>
              <a:gd name="connsiteX4156" fmla="*/ 415413 w 5794893"/>
              <a:gd name="connsiteY4156" fmla="*/ 4189826 h 6858000"/>
              <a:gd name="connsiteX4157" fmla="*/ 360106 w 5794893"/>
              <a:gd name="connsiteY4157" fmla="*/ 4205804 h 6858000"/>
              <a:gd name="connsiteX4158" fmla="*/ 389603 w 5794893"/>
              <a:gd name="connsiteY4158" fmla="*/ 4343456 h 6858000"/>
              <a:gd name="connsiteX4159" fmla="*/ 444910 w 5794893"/>
              <a:gd name="connsiteY4159" fmla="*/ 4328707 h 6858000"/>
              <a:gd name="connsiteX4160" fmla="*/ 415413 w 5794893"/>
              <a:gd name="connsiteY4160" fmla="*/ 4189826 h 6858000"/>
              <a:gd name="connsiteX4161" fmla="*/ 532171 w 5794893"/>
              <a:gd name="connsiteY4161" fmla="*/ 4189826 h 6858000"/>
              <a:gd name="connsiteX4162" fmla="*/ 479323 w 5794893"/>
              <a:gd name="connsiteY4162" fmla="*/ 4209490 h 6858000"/>
              <a:gd name="connsiteX4163" fmla="*/ 518652 w 5794893"/>
              <a:gd name="connsiteY4163" fmla="*/ 4343456 h 6858000"/>
              <a:gd name="connsiteX4164" fmla="*/ 571500 w 5794893"/>
              <a:gd name="connsiteY4164" fmla="*/ 4323791 h 6858000"/>
              <a:gd name="connsiteX4165" fmla="*/ 532171 w 5794893"/>
              <a:gd name="connsiteY4165" fmla="*/ 4189826 h 6858000"/>
              <a:gd name="connsiteX4166" fmla="*/ 651388 w 5794893"/>
              <a:gd name="connsiteY4166" fmla="*/ 4189826 h 6858000"/>
              <a:gd name="connsiteX4167" fmla="*/ 599769 w 5794893"/>
              <a:gd name="connsiteY4167" fmla="*/ 4214406 h 6858000"/>
              <a:gd name="connsiteX4168" fmla="*/ 648930 w 5794893"/>
              <a:gd name="connsiteY4168" fmla="*/ 4343456 h 6858000"/>
              <a:gd name="connsiteX4169" fmla="*/ 699320 w 5794893"/>
              <a:gd name="connsiteY4169" fmla="*/ 4317645 h 6858000"/>
              <a:gd name="connsiteX4170" fmla="*/ 651388 w 5794893"/>
              <a:gd name="connsiteY4170" fmla="*/ 4189826 h 6858000"/>
              <a:gd name="connsiteX4171" fmla="*/ 769375 w 5794893"/>
              <a:gd name="connsiteY4171" fmla="*/ 4189826 h 6858000"/>
              <a:gd name="connsiteX4172" fmla="*/ 720214 w 5794893"/>
              <a:gd name="connsiteY4172" fmla="*/ 4220552 h 6858000"/>
              <a:gd name="connsiteX4173" fmla="*/ 777978 w 5794893"/>
              <a:gd name="connsiteY4173" fmla="*/ 4343456 h 6858000"/>
              <a:gd name="connsiteX4174" fmla="*/ 827139 w 5794893"/>
              <a:gd name="connsiteY4174" fmla="*/ 4313959 h 6858000"/>
              <a:gd name="connsiteX4175" fmla="*/ 769375 w 5794893"/>
              <a:gd name="connsiteY4175" fmla="*/ 4189826 h 6858000"/>
              <a:gd name="connsiteX4176" fmla="*/ 887362 w 5794893"/>
              <a:gd name="connsiteY4176" fmla="*/ 4189826 h 6858000"/>
              <a:gd name="connsiteX4177" fmla="*/ 840659 w 5794893"/>
              <a:gd name="connsiteY4177" fmla="*/ 4225468 h 6858000"/>
              <a:gd name="connsiteX4178" fmla="*/ 908255 w 5794893"/>
              <a:gd name="connsiteY4178" fmla="*/ 4343456 h 6858000"/>
              <a:gd name="connsiteX4179" fmla="*/ 954959 w 5794893"/>
              <a:gd name="connsiteY4179" fmla="*/ 4309043 h 6858000"/>
              <a:gd name="connsiteX4180" fmla="*/ 887362 w 5794893"/>
              <a:gd name="connsiteY4180" fmla="*/ 4189826 h 6858000"/>
              <a:gd name="connsiteX4181" fmla="*/ 1005350 w 5794893"/>
              <a:gd name="connsiteY4181" fmla="*/ 4189826 h 6858000"/>
              <a:gd name="connsiteX4182" fmla="*/ 959875 w 5794893"/>
              <a:gd name="connsiteY4182" fmla="*/ 4230384 h 6858000"/>
              <a:gd name="connsiteX4183" fmla="*/ 1037304 w 5794893"/>
              <a:gd name="connsiteY4183" fmla="*/ 4343456 h 6858000"/>
              <a:gd name="connsiteX4184" fmla="*/ 1082778 w 5794893"/>
              <a:gd name="connsiteY4184" fmla="*/ 4304126 h 6858000"/>
              <a:gd name="connsiteX4185" fmla="*/ 1005350 w 5794893"/>
              <a:gd name="connsiteY4185" fmla="*/ 4189826 h 6858000"/>
              <a:gd name="connsiteX4186" fmla="*/ 1123337 w 5794893"/>
              <a:gd name="connsiteY4186" fmla="*/ 4189826 h 6858000"/>
              <a:gd name="connsiteX4187" fmla="*/ 1080320 w 5794893"/>
              <a:gd name="connsiteY4187" fmla="*/ 4235301 h 6858000"/>
              <a:gd name="connsiteX4188" fmla="*/ 1167582 w 5794893"/>
              <a:gd name="connsiteY4188" fmla="*/ 4343456 h 6858000"/>
              <a:gd name="connsiteX4189" fmla="*/ 1210598 w 5794893"/>
              <a:gd name="connsiteY4189" fmla="*/ 4299210 h 6858000"/>
              <a:gd name="connsiteX4190" fmla="*/ 1123337 w 5794893"/>
              <a:gd name="connsiteY4190" fmla="*/ 4189826 h 6858000"/>
              <a:gd name="connsiteX4191" fmla="*/ 1241324 w 5794893"/>
              <a:gd name="connsiteY4191" fmla="*/ 4191055 h 6858000"/>
              <a:gd name="connsiteX4192" fmla="*/ 1199537 w 5794893"/>
              <a:gd name="connsiteY4192" fmla="*/ 4240217 h 6858000"/>
              <a:gd name="connsiteX4193" fmla="*/ 1297860 w 5794893"/>
              <a:gd name="connsiteY4193" fmla="*/ 4343456 h 6858000"/>
              <a:gd name="connsiteX4194" fmla="*/ 1338417 w 5794893"/>
              <a:gd name="connsiteY4194" fmla="*/ 4294294 h 6858000"/>
              <a:gd name="connsiteX4195" fmla="*/ 1241324 w 5794893"/>
              <a:gd name="connsiteY4195" fmla="*/ 4191055 h 6858000"/>
              <a:gd name="connsiteX4196" fmla="*/ 1359311 w 5794893"/>
              <a:gd name="connsiteY4196" fmla="*/ 4191055 h 6858000"/>
              <a:gd name="connsiteX4197" fmla="*/ 1319982 w 5794893"/>
              <a:gd name="connsiteY4197" fmla="*/ 4245133 h 6858000"/>
              <a:gd name="connsiteX4198" fmla="*/ 1426908 w 5794893"/>
              <a:gd name="connsiteY4198" fmla="*/ 4343456 h 6858000"/>
              <a:gd name="connsiteX4199" fmla="*/ 1466237 w 5794893"/>
              <a:gd name="connsiteY4199" fmla="*/ 4289378 h 6858000"/>
              <a:gd name="connsiteX4200" fmla="*/ 1359311 w 5794893"/>
              <a:gd name="connsiteY4200" fmla="*/ 4191055 h 6858000"/>
              <a:gd name="connsiteX4201" fmla="*/ 1477299 w 5794893"/>
              <a:gd name="connsiteY4201" fmla="*/ 4191055 h 6858000"/>
              <a:gd name="connsiteX4202" fmla="*/ 1440428 w 5794893"/>
              <a:gd name="connsiteY4202" fmla="*/ 4250049 h 6858000"/>
              <a:gd name="connsiteX4203" fmla="*/ 1557185 w 5794893"/>
              <a:gd name="connsiteY4203" fmla="*/ 4343456 h 6858000"/>
              <a:gd name="connsiteX4204" fmla="*/ 1594056 w 5794893"/>
              <a:gd name="connsiteY4204" fmla="*/ 4284462 h 6858000"/>
              <a:gd name="connsiteX4205" fmla="*/ 1477299 w 5794893"/>
              <a:gd name="connsiteY4205" fmla="*/ 4191055 h 6858000"/>
              <a:gd name="connsiteX4206" fmla="*/ 178209 w 5794893"/>
              <a:gd name="connsiteY4206" fmla="*/ 4191055 h 6858000"/>
              <a:gd name="connsiteX4207" fmla="*/ 119216 w 5794893"/>
              <a:gd name="connsiteY4207" fmla="*/ 4195972 h 6858000"/>
              <a:gd name="connsiteX4208" fmla="*/ 129048 w 5794893"/>
              <a:gd name="connsiteY4208" fmla="*/ 4343456 h 6858000"/>
              <a:gd name="connsiteX4209" fmla="*/ 188042 w 5794893"/>
              <a:gd name="connsiteY4209" fmla="*/ 4339768 h 6858000"/>
              <a:gd name="connsiteX4210" fmla="*/ 178209 w 5794893"/>
              <a:gd name="connsiteY4210" fmla="*/ 4191055 h 6858000"/>
              <a:gd name="connsiteX4211" fmla="*/ 296197 w 5794893"/>
              <a:gd name="connsiteY4211" fmla="*/ 4191055 h 6858000"/>
              <a:gd name="connsiteX4212" fmla="*/ 240891 w 5794893"/>
              <a:gd name="connsiteY4212" fmla="*/ 4200888 h 6858000"/>
              <a:gd name="connsiteX4213" fmla="*/ 259326 w 5794893"/>
              <a:gd name="connsiteY4213" fmla="*/ 4343456 h 6858000"/>
              <a:gd name="connsiteX4214" fmla="*/ 315861 w 5794893"/>
              <a:gd name="connsiteY4214" fmla="*/ 4334852 h 6858000"/>
              <a:gd name="connsiteX4215" fmla="*/ 296197 w 5794893"/>
              <a:gd name="connsiteY4215" fmla="*/ 4191055 h 6858000"/>
              <a:gd name="connsiteX4216" fmla="*/ 651388 w 5794893"/>
              <a:gd name="connsiteY4216" fmla="*/ 4384013 h 6858000"/>
              <a:gd name="connsiteX4217" fmla="*/ 599769 w 5794893"/>
              <a:gd name="connsiteY4217" fmla="*/ 4408594 h 6858000"/>
              <a:gd name="connsiteX4218" fmla="*/ 648930 w 5794893"/>
              <a:gd name="connsiteY4218" fmla="*/ 4537643 h 6858000"/>
              <a:gd name="connsiteX4219" fmla="*/ 699320 w 5794893"/>
              <a:gd name="connsiteY4219" fmla="*/ 4511832 h 6858000"/>
              <a:gd name="connsiteX4220" fmla="*/ 651388 w 5794893"/>
              <a:gd name="connsiteY4220" fmla="*/ 4384013 h 6858000"/>
              <a:gd name="connsiteX4221" fmla="*/ 887362 w 5794893"/>
              <a:gd name="connsiteY4221" fmla="*/ 4384013 h 6858000"/>
              <a:gd name="connsiteX4222" fmla="*/ 840659 w 5794893"/>
              <a:gd name="connsiteY4222" fmla="*/ 4419656 h 6858000"/>
              <a:gd name="connsiteX4223" fmla="*/ 908255 w 5794893"/>
              <a:gd name="connsiteY4223" fmla="*/ 4538871 h 6858000"/>
              <a:gd name="connsiteX4224" fmla="*/ 954959 w 5794893"/>
              <a:gd name="connsiteY4224" fmla="*/ 4503230 h 6858000"/>
              <a:gd name="connsiteX4225" fmla="*/ 887362 w 5794893"/>
              <a:gd name="connsiteY4225" fmla="*/ 4384013 h 6858000"/>
              <a:gd name="connsiteX4226" fmla="*/ 1123337 w 5794893"/>
              <a:gd name="connsiteY4226" fmla="*/ 4384013 h 6858000"/>
              <a:gd name="connsiteX4227" fmla="*/ 1080320 w 5794893"/>
              <a:gd name="connsiteY4227" fmla="*/ 4428258 h 6858000"/>
              <a:gd name="connsiteX4228" fmla="*/ 1167582 w 5794893"/>
              <a:gd name="connsiteY4228" fmla="*/ 4537643 h 6858000"/>
              <a:gd name="connsiteX4229" fmla="*/ 1210598 w 5794893"/>
              <a:gd name="connsiteY4229" fmla="*/ 4493398 h 6858000"/>
              <a:gd name="connsiteX4230" fmla="*/ 1123337 w 5794893"/>
              <a:gd name="connsiteY4230" fmla="*/ 4384013 h 6858000"/>
              <a:gd name="connsiteX4231" fmla="*/ 1240094 w 5794893"/>
              <a:gd name="connsiteY4231" fmla="*/ 4384013 h 6858000"/>
              <a:gd name="connsiteX4232" fmla="*/ 1199537 w 5794893"/>
              <a:gd name="connsiteY4232" fmla="*/ 4433174 h 6858000"/>
              <a:gd name="connsiteX4233" fmla="*/ 1296630 w 5794893"/>
              <a:gd name="connsiteY4233" fmla="*/ 4537643 h 6858000"/>
              <a:gd name="connsiteX4234" fmla="*/ 1338417 w 5794893"/>
              <a:gd name="connsiteY4234" fmla="*/ 4488482 h 6858000"/>
              <a:gd name="connsiteX4235" fmla="*/ 1240094 w 5794893"/>
              <a:gd name="connsiteY4235" fmla="*/ 4384013 h 6858000"/>
              <a:gd name="connsiteX4236" fmla="*/ 1359311 w 5794893"/>
              <a:gd name="connsiteY4236" fmla="*/ 4385243 h 6858000"/>
              <a:gd name="connsiteX4237" fmla="*/ 1319982 w 5794893"/>
              <a:gd name="connsiteY4237" fmla="*/ 4439320 h 6858000"/>
              <a:gd name="connsiteX4238" fmla="*/ 1426908 w 5794893"/>
              <a:gd name="connsiteY4238" fmla="*/ 4537643 h 6858000"/>
              <a:gd name="connsiteX4239" fmla="*/ 1466237 w 5794893"/>
              <a:gd name="connsiteY4239" fmla="*/ 4483565 h 6858000"/>
              <a:gd name="connsiteX4240" fmla="*/ 1359311 w 5794893"/>
              <a:gd name="connsiteY4240" fmla="*/ 4385243 h 6858000"/>
              <a:gd name="connsiteX4241" fmla="*/ 1005350 w 5794893"/>
              <a:gd name="connsiteY4241" fmla="*/ 4385243 h 6858000"/>
              <a:gd name="connsiteX4242" fmla="*/ 959875 w 5794893"/>
              <a:gd name="connsiteY4242" fmla="*/ 4423342 h 6858000"/>
              <a:gd name="connsiteX4243" fmla="*/ 1037304 w 5794893"/>
              <a:gd name="connsiteY4243" fmla="*/ 4537643 h 6858000"/>
              <a:gd name="connsiteX4244" fmla="*/ 1082778 w 5794893"/>
              <a:gd name="connsiteY4244" fmla="*/ 4498314 h 6858000"/>
              <a:gd name="connsiteX4245" fmla="*/ 1005350 w 5794893"/>
              <a:gd name="connsiteY4245" fmla="*/ 4385243 h 6858000"/>
              <a:gd name="connsiteX4246" fmla="*/ 769375 w 5794893"/>
              <a:gd name="connsiteY4246" fmla="*/ 4385243 h 6858000"/>
              <a:gd name="connsiteX4247" fmla="*/ 720214 w 5794893"/>
              <a:gd name="connsiteY4247" fmla="*/ 4413510 h 6858000"/>
              <a:gd name="connsiteX4248" fmla="*/ 777978 w 5794893"/>
              <a:gd name="connsiteY4248" fmla="*/ 4537643 h 6858000"/>
              <a:gd name="connsiteX4249" fmla="*/ 827139 w 5794893"/>
              <a:gd name="connsiteY4249" fmla="*/ 4508146 h 6858000"/>
              <a:gd name="connsiteX4250" fmla="*/ 769375 w 5794893"/>
              <a:gd name="connsiteY4250" fmla="*/ 4385243 h 6858000"/>
              <a:gd name="connsiteX4251" fmla="*/ 178209 w 5794893"/>
              <a:gd name="connsiteY4251" fmla="*/ 4385243 h 6858000"/>
              <a:gd name="connsiteX4252" fmla="*/ 119216 w 5794893"/>
              <a:gd name="connsiteY4252" fmla="*/ 4390159 h 6858000"/>
              <a:gd name="connsiteX4253" fmla="*/ 129048 w 5794893"/>
              <a:gd name="connsiteY4253" fmla="*/ 4538871 h 6858000"/>
              <a:gd name="connsiteX4254" fmla="*/ 188042 w 5794893"/>
              <a:gd name="connsiteY4254" fmla="*/ 4533955 h 6858000"/>
              <a:gd name="connsiteX4255" fmla="*/ 178209 w 5794893"/>
              <a:gd name="connsiteY4255" fmla="*/ 4385243 h 6858000"/>
              <a:gd name="connsiteX4256" fmla="*/ 296197 w 5794893"/>
              <a:gd name="connsiteY4256" fmla="*/ 4385243 h 6858000"/>
              <a:gd name="connsiteX4257" fmla="*/ 239661 w 5794893"/>
              <a:gd name="connsiteY4257" fmla="*/ 4395075 h 6858000"/>
              <a:gd name="connsiteX4258" fmla="*/ 259326 w 5794893"/>
              <a:gd name="connsiteY4258" fmla="*/ 4538871 h 6858000"/>
              <a:gd name="connsiteX4259" fmla="*/ 315861 w 5794893"/>
              <a:gd name="connsiteY4259" fmla="*/ 4529039 h 6858000"/>
              <a:gd name="connsiteX4260" fmla="*/ 296197 w 5794893"/>
              <a:gd name="connsiteY4260" fmla="*/ 4385243 h 6858000"/>
              <a:gd name="connsiteX4261" fmla="*/ 415413 w 5794893"/>
              <a:gd name="connsiteY4261" fmla="*/ 4385243 h 6858000"/>
              <a:gd name="connsiteX4262" fmla="*/ 360106 w 5794893"/>
              <a:gd name="connsiteY4262" fmla="*/ 4399991 h 6858000"/>
              <a:gd name="connsiteX4263" fmla="*/ 389603 w 5794893"/>
              <a:gd name="connsiteY4263" fmla="*/ 4538871 h 6858000"/>
              <a:gd name="connsiteX4264" fmla="*/ 444910 w 5794893"/>
              <a:gd name="connsiteY4264" fmla="*/ 4524123 h 6858000"/>
              <a:gd name="connsiteX4265" fmla="*/ 415413 w 5794893"/>
              <a:gd name="connsiteY4265" fmla="*/ 4385243 h 6858000"/>
              <a:gd name="connsiteX4266" fmla="*/ 532171 w 5794893"/>
              <a:gd name="connsiteY4266" fmla="*/ 4385243 h 6858000"/>
              <a:gd name="connsiteX4267" fmla="*/ 479323 w 5794893"/>
              <a:gd name="connsiteY4267" fmla="*/ 4404907 h 6858000"/>
              <a:gd name="connsiteX4268" fmla="*/ 518652 w 5794893"/>
              <a:gd name="connsiteY4268" fmla="*/ 4538871 h 6858000"/>
              <a:gd name="connsiteX4269" fmla="*/ 571500 w 5794893"/>
              <a:gd name="connsiteY4269" fmla="*/ 4519207 h 6858000"/>
              <a:gd name="connsiteX4270" fmla="*/ 532171 w 5794893"/>
              <a:gd name="connsiteY4270" fmla="*/ 4385243 h 6858000"/>
              <a:gd name="connsiteX4271" fmla="*/ 651388 w 5794893"/>
              <a:gd name="connsiteY4271" fmla="*/ 4578200 h 6858000"/>
              <a:gd name="connsiteX4272" fmla="*/ 599769 w 5794893"/>
              <a:gd name="connsiteY4272" fmla="*/ 4602781 h 6858000"/>
              <a:gd name="connsiteX4273" fmla="*/ 648930 w 5794893"/>
              <a:gd name="connsiteY4273" fmla="*/ 4731830 h 6858000"/>
              <a:gd name="connsiteX4274" fmla="*/ 699320 w 5794893"/>
              <a:gd name="connsiteY4274" fmla="*/ 4706020 h 6858000"/>
              <a:gd name="connsiteX4275" fmla="*/ 651388 w 5794893"/>
              <a:gd name="connsiteY4275" fmla="*/ 4578200 h 6858000"/>
              <a:gd name="connsiteX4276" fmla="*/ 769375 w 5794893"/>
              <a:gd name="connsiteY4276" fmla="*/ 4579430 h 6858000"/>
              <a:gd name="connsiteX4277" fmla="*/ 720214 w 5794893"/>
              <a:gd name="connsiteY4277" fmla="*/ 4607697 h 6858000"/>
              <a:gd name="connsiteX4278" fmla="*/ 777978 w 5794893"/>
              <a:gd name="connsiteY4278" fmla="*/ 4731830 h 6858000"/>
              <a:gd name="connsiteX4279" fmla="*/ 827139 w 5794893"/>
              <a:gd name="connsiteY4279" fmla="*/ 4702333 h 6858000"/>
              <a:gd name="connsiteX4280" fmla="*/ 769375 w 5794893"/>
              <a:gd name="connsiteY4280" fmla="*/ 4579430 h 6858000"/>
              <a:gd name="connsiteX4281" fmla="*/ 887362 w 5794893"/>
              <a:gd name="connsiteY4281" fmla="*/ 4579430 h 6858000"/>
              <a:gd name="connsiteX4282" fmla="*/ 840659 w 5794893"/>
              <a:gd name="connsiteY4282" fmla="*/ 4613843 h 6858000"/>
              <a:gd name="connsiteX4283" fmla="*/ 908255 w 5794893"/>
              <a:gd name="connsiteY4283" fmla="*/ 4733059 h 6858000"/>
              <a:gd name="connsiteX4284" fmla="*/ 954959 w 5794893"/>
              <a:gd name="connsiteY4284" fmla="*/ 4697417 h 6858000"/>
              <a:gd name="connsiteX4285" fmla="*/ 887362 w 5794893"/>
              <a:gd name="connsiteY4285" fmla="*/ 4579430 h 6858000"/>
              <a:gd name="connsiteX4286" fmla="*/ 1005350 w 5794893"/>
              <a:gd name="connsiteY4286" fmla="*/ 4579430 h 6858000"/>
              <a:gd name="connsiteX4287" fmla="*/ 959875 w 5794893"/>
              <a:gd name="connsiteY4287" fmla="*/ 4618759 h 6858000"/>
              <a:gd name="connsiteX4288" fmla="*/ 1037304 w 5794893"/>
              <a:gd name="connsiteY4288" fmla="*/ 4731830 h 6858000"/>
              <a:gd name="connsiteX4289" fmla="*/ 1082778 w 5794893"/>
              <a:gd name="connsiteY4289" fmla="*/ 4692501 h 6858000"/>
              <a:gd name="connsiteX4290" fmla="*/ 1005350 w 5794893"/>
              <a:gd name="connsiteY4290" fmla="*/ 4579430 h 6858000"/>
              <a:gd name="connsiteX4291" fmla="*/ 1123337 w 5794893"/>
              <a:gd name="connsiteY4291" fmla="*/ 4579430 h 6858000"/>
              <a:gd name="connsiteX4292" fmla="*/ 1080320 w 5794893"/>
              <a:gd name="connsiteY4292" fmla="*/ 4623675 h 6858000"/>
              <a:gd name="connsiteX4293" fmla="*/ 1167582 w 5794893"/>
              <a:gd name="connsiteY4293" fmla="*/ 4733059 h 6858000"/>
              <a:gd name="connsiteX4294" fmla="*/ 1210598 w 5794893"/>
              <a:gd name="connsiteY4294" fmla="*/ 4688813 h 6858000"/>
              <a:gd name="connsiteX4295" fmla="*/ 1123337 w 5794893"/>
              <a:gd name="connsiteY4295" fmla="*/ 4579430 h 6858000"/>
              <a:gd name="connsiteX4296" fmla="*/ 1240094 w 5794893"/>
              <a:gd name="connsiteY4296" fmla="*/ 4579430 h 6858000"/>
              <a:gd name="connsiteX4297" fmla="*/ 1199537 w 5794893"/>
              <a:gd name="connsiteY4297" fmla="*/ 4628591 h 6858000"/>
              <a:gd name="connsiteX4298" fmla="*/ 1296630 w 5794893"/>
              <a:gd name="connsiteY4298" fmla="*/ 4733059 h 6858000"/>
              <a:gd name="connsiteX4299" fmla="*/ 1338417 w 5794893"/>
              <a:gd name="connsiteY4299" fmla="*/ 4683897 h 6858000"/>
              <a:gd name="connsiteX4300" fmla="*/ 1240094 w 5794893"/>
              <a:gd name="connsiteY4300" fmla="*/ 4579430 h 6858000"/>
              <a:gd name="connsiteX4301" fmla="*/ 1359311 w 5794893"/>
              <a:gd name="connsiteY4301" fmla="*/ 4579430 h 6858000"/>
              <a:gd name="connsiteX4302" fmla="*/ 1319982 w 5794893"/>
              <a:gd name="connsiteY4302" fmla="*/ 4633507 h 6858000"/>
              <a:gd name="connsiteX4303" fmla="*/ 1426908 w 5794893"/>
              <a:gd name="connsiteY4303" fmla="*/ 4731830 h 6858000"/>
              <a:gd name="connsiteX4304" fmla="*/ 1466237 w 5794893"/>
              <a:gd name="connsiteY4304" fmla="*/ 4677753 h 6858000"/>
              <a:gd name="connsiteX4305" fmla="*/ 1359311 w 5794893"/>
              <a:gd name="connsiteY4305" fmla="*/ 4579430 h 6858000"/>
              <a:gd name="connsiteX4306" fmla="*/ 178209 w 5794893"/>
              <a:gd name="connsiteY4306" fmla="*/ 4579430 h 6858000"/>
              <a:gd name="connsiteX4307" fmla="*/ 119216 w 5794893"/>
              <a:gd name="connsiteY4307" fmla="*/ 4584346 h 6858000"/>
              <a:gd name="connsiteX4308" fmla="*/ 129048 w 5794893"/>
              <a:gd name="connsiteY4308" fmla="*/ 4733059 h 6858000"/>
              <a:gd name="connsiteX4309" fmla="*/ 188042 w 5794893"/>
              <a:gd name="connsiteY4309" fmla="*/ 4728142 h 6858000"/>
              <a:gd name="connsiteX4310" fmla="*/ 178209 w 5794893"/>
              <a:gd name="connsiteY4310" fmla="*/ 4579430 h 6858000"/>
              <a:gd name="connsiteX4311" fmla="*/ 296197 w 5794893"/>
              <a:gd name="connsiteY4311" fmla="*/ 4579430 h 6858000"/>
              <a:gd name="connsiteX4312" fmla="*/ 239661 w 5794893"/>
              <a:gd name="connsiteY4312" fmla="*/ 4589262 h 6858000"/>
              <a:gd name="connsiteX4313" fmla="*/ 259326 w 5794893"/>
              <a:gd name="connsiteY4313" fmla="*/ 4733059 h 6858000"/>
              <a:gd name="connsiteX4314" fmla="*/ 315861 w 5794893"/>
              <a:gd name="connsiteY4314" fmla="*/ 4723226 h 6858000"/>
              <a:gd name="connsiteX4315" fmla="*/ 296197 w 5794893"/>
              <a:gd name="connsiteY4315" fmla="*/ 4579430 h 6858000"/>
              <a:gd name="connsiteX4316" fmla="*/ 415413 w 5794893"/>
              <a:gd name="connsiteY4316" fmla="*/ 4579430 h 6858000"/>
              <a:gd name="connsiteX4317" fmla="*/ 360106 w 5794893"/>
              <a:gd name="connsiteY4317" fmla="*/ 4594178 h 6858000"/>
              <a:gd name="connsiteX4318" fmla="*/ 389603 w 5794893"/>
              <a:gd name="connsiteY4318" fmla="*/ 4733059 h 6858000"/>
              <a:gd name="connsiteX4319" fmla="*/ 444910 w 5794893"/>
              <a:gd name="connsiteY4319" fmla="*/ 4718310 h 6858000"/>
              <a:gd name="connsiteX4320" fmla="*/ 415413 w 5794893"/>
              <a:gd name="connsiteY4320" fmla="*/ 4579430 h 6858000"/>
              <a:gd name="connsiteX4321" fmla="*/ 532171 w 5794893"/>
              <a:gd name="connsiteY4321" fmla="*/ 4580658 h 6858000"/>
              <a:gd name="connsiteX4322" fmla="*/ 479323 w 5794893"/>
              <a:gd name="connsiteY4322" fmla="*/ 4600323 h 6858000"/>
              <a:gd name="connsiteX4323" fmla="*/ 518652 w 5794893"/>
              <a:gd name="connsiteY4323" fmla="*/ 4733059 h 6858000"/>
              <a:gd name="connsiteX4324" fmla="*/ 571500 w 5794893"/>
              <a:gd name="connsiteY4324" fmla="*/ 4714624 h 6858000"/>
              <a:gd name="connsiteX4325" fmla="*/ 532171 w 5794893"/>
              <a:gd name="connsiteY4325" fmla="*/ 4580658 h 6858000"/>
              <a:gd name="connsiteX4326" fmla="*/ 415413 w 5794893"/>
              <a:gd name="connsiteY4326" fmla="*/ 4772388 h 6858000"/>
              <a:gd name="connsiteX4327" fmla="*/ 360106 w 5794893"/>
              <a:gd name="connsiteY4327" fmla="*/ 4788366 h 6858000"/>
              <a:gd name="connsiteX4328" fmla="*/ 389603 w 5794893"/>
              <a:gd name="connsiteY4328" fmla="*/ 4927246 h 6858000"/>
              <a:gd name="connsiteX4329" fmla="*/ 444910 w 5794893"/>
              <a:gd name="connsiteY4329" fmla="*/ 4911269 h 6858000"/>
              <a:gd name="connsiteX4330" fmla="*/ 415413 w 5794893"/>
              <a:gd name="connsiteY4330" fmla="*/ 4772388 h 6858000"/>
              <a:gd name="connsiteX4331" fmla="*/ 532171 w 5794893"/>
              <a:gd name="connsiteY4331" fmla="*/ 4773617 h 6858000"/>
              <a:gd name="connsiteX4332" fmla="*/ 479323 w 5794893"/>
              <a:gd name="connsiteY4332" fmla="*/ 4794510 h 6858000"/>
              <a:gd name="connsiteX4333" fmla="*/ 518652 w 5794893"/>
              <a:gd name="connsiteY4333" fmla="*/ 4927246 h 6858000"/>
              <a:gd name="connsiteX4334" fmla="*/ 571500 w 5794893"/>
              <a:gd name="connsiteY4334" fmla="*/ 4907581 h 6858000"/>
              <a:gd name="connsiteX4335" fmla="*/ 532171 w 5794893"/>
              <a:gd name="connsiteY4335" fmla="*/ 4773617 h 6858000"/>
              <a:gd name="connsiteX4336" fmla="*/ 651388 w 5794893"/>
              <a:gd name="connsiteY4336" fmla="*/ 4773617 h 6858000"/>
              <a:gd name="connsiteX4337" fmla="*/ 599769 w 5794893"/>
              <a:gd name="connsiteY4337" fmla="*/ 4798198 h 6858000"/>
              <a:gd name="connsiteX4338" fmla="*/ 648930 w 5794893"/>
              <a:gd name="connsiteY4338" fmla="*/ 4927246 h 6858000"/>
              <a:gd name="connsiteX4339" fmla="*/ 699320 w 5794893"/>
              <a:gd name="connsiteY4339" fmla="*/ 4902665 h 6858000"/>
              <a:gd name="connsiteX4340" fmla="*/ 651388 w 5794893"/>
              <a:gd name="connsiteY4340" fmla="*/ 4773617 h 6858000"/>
              <a:gd name="connsiteX4341" fmla="*/ 769375 w 5794893"/>
              <a:gd name="connsiteY4341" fmla="*/ 4773617 h 6858000"/>
              <a:gd name="connsiteX4342" fmla="*/ 721442 w 5794893"/>
              <a:gd name="connsiteY4342" fmla="*/ 4803114 h 6858000"/>
              <a:gd name="connsiteX4343" fmla="*/ 779207 w 5794893"/>
              <a:gd name="connsiteY4343" fmla="*/ 4927246 h 6858000"/>
              <a:gd name="connsiteX4344" fmla="*/ 828369 w 5794893"/>
              <a:gd name="connsiteY4344" fmla="*/ 4897749 h 6858000"/>
              <a:gd name="connsiteX4345" fmla="*/ 769375 w 5794893"/>
              <a:gd name="connsiteY4345" fmla="*/ 4773617 h 6858000"/>
              <a:gd name="connsiteX4346" fmla="*/ 887362 w 5794893"/>
              <a:gd name="connsiteY4346" fmla="*/ 4773617 h 6858000"/>
              <a:gd name="connsiteX4347" fmla="*/ 840659 w 5794893"/>
              <a:gd name="connsiteY4347" fmla="*/ 4808030 h 6858000"/>
              <a:gd name="connsiteX4348" fmla="*/ 908255 w 5794893"/>
              <a:gd name="connsiteY4348" fmla="*/ 4927246 h 6858000"/>
              <a:gd name="connsiteX4349" fmla="*/ 954959 w 5794893"/>
              <a:gd name="connsiteY4349" fmla="*/ 4892833 h 6858000"/>
              <a:gd name="connsiteX4350" fmla="*/ 887362 w 5794893"/>
              <a:gd name="connsiteY4350" fmla="*/ 4773617 h 6858000"/>
              <a:gd name="connsiteX4351" fmla="*/ 1005350 w 5794893"/>
              <a:gd name="connsiteY4351" fmla="*/ 4773617 h 6858000"/>
              <a:gd name="connsiteX4352" fmla="*/ 959875 w 5794893"/>
              <a:gd name="connsiteY4352" fmla="*/ 4812946 h 6858000"/>
              <a:gd name="connsiteX4353" fmla="*/ 1037304 w 5794893"/>
              <a:gd name="connsiteY4353" fmla="*/ 4926017 h 6858000"/>
              <a:gd name="connsiteX4354" fmla="*/ 1082778 w 5794893"/>
              <a:gd name="connsiteY4354" fmla="*/ 4886688 h 6858000"/>
              <a:gd name="connsiteX4355" fmla="*/ 1005350 w 5794893"/>
              <a:gd name="connsiteY4355" fmla="*/ 4773617 h 6858000"/>
              <a:gd name="connsiteX4356" fmla="*/ 1123337 w 5794893"/>
              <a:gd name="connsiteY4356" fmla="*/ 4773617 h 6858000"/>
              <a:gd name="connsiteX4357" fmla="*/ 1080320 w 5794893"/>
              <a:gd name="connsiteY4357" fmla="*/ 4817863 h 6858000"/>
              <a:gd name="connsiteX4358" fmla="*/ 1167582 w 5794893"/>
              <a:gd name="connsiteY4358" fmla="*/ 4927246 h 6858000"/>
              <a:gd name="connsiteX4359" fmla="*/ 1210598 w 5794893"/>
              <a:gd name="connsiteY4359" fmla="*/ 4883001 h 6858000"/>
              <a:gd name="connsiteX4360" fmla="*/ 1123337 w 5794893"/>
              <a:gd name="connsiteY4360" fmla="*/ 4773617 h 6858000"/>
              <a:gd name="connsiteX4361" fmla="*/ 1240094 w 5794893"/>
              <a:gd name="connsiteY4361" fmla="*/ 4773617 h 6858000"/>
              <a:gd name="connsiteX4362" fmla="*/ 1199537 w 5794893"/>
              <a:gd name="connsiteY4362" fmla="*/ 4822779 h 6858000"/>
              <a:gd name="connsiteX4363" fmla="*/ 1296630 w 5794893"/>
              <a:gd name="connsiteY4363" fmla="*/ 4927246 h 6858000"/>
              <a:gd name="connsiteX4364" fmla="*/ 1338417 w 5794893"/>
              <a:gd name="connsiteY4364" fmla="*/ 4878085 h 6858000"/>
              <a:gd name="connsiteX4365" fmla="*/ 1240094 w 5794893"/>
              <a:gd name="connsiteY4365" fmla="*/ 4773617 h 6858000"/>
              <a:gd name="connsiteX4366" fmla="*/ 1359311 w 5794893"/>
              <a:gd name="connsiteY4366" fmla="*/ 4773617 h 6858000"/>
              <a:gd name="connsiteX4367" fmla="*/ 1319982 w 5794893"/>
              <a:gd name="connsiteY4367" fmla="*/ 4827695 h 6858000"/>
              <a:gd name="connsiteX4368" fmla="*/ 1426908 w 5794893"/>
              <a:gd name="connsiteY4368" fmla="*/ 4926017 h 6858000"/>
              <a:gd name="connsiteX4369" fmla="*/ 1466237 w 5794893"/>
              <a:gd name="connsiteY4369" fmla="*/ 4873168 h 6858000"/>
              <a:gd name="connsiteX4370" fmla="*/ 1359311 w 5794893"/>
              <a:gd name="connsiteY4370" fmla="*/ 4773617 h 6858000"/>
              <a:gd name="connsiteX4371" fmla="*/ 178209 w 5794893"/>
              <a:gd name="connsiteY4371" fmla="*/ 4773617 h 6858000"/>
              <a:gd name="connsiteX4372" fmla="*/ 119216 w 5794893"/>
              <a:gd name="connsiteY4372" fmla="*/ 4778533 h 6858000"/>
              <a:gd name="connsiteX4373" fmla="*/ 129048 w 5794893"/>
              <a:gd name="connsiteY4373" fmla="*/ 4927246 h 6858000"/>
              <a:gd name="connsiteX4374" fmla="*/ 188042 w 5794893"/>
              <a:gd name="connsiteY4374" fmla="*/ 4922330 h 6858000"/>
              <a:gd name="connsiteX4375" fmla="*/ 178209 w 5794893"/>
              <a:gd name="connsiteY4375" fmla="*/ 4773617 h 6858000"/>
              <a:gd name="connsiteX4376" fmla="*/ 296197 w 5794893"/>
              <a:gd name="connsiteY4376" fmla="*/ 4773617 h 6858000"/>
              <a:gd name="connsiteX4377" fmla="*/ 239661 w 5794893"/>
              <a:gd name="connsiteY4377" fmla="*/ 4783450 h 6858000"/>
              <a:gd name="connsiteX4378" fmla="*/ 259326 w 5794893"/>
              <a:gd name="connsiteY4378" fmla="*/ 4927246 h 6858000"/>
              <a:gd name="connsiteX4379" fmla="*/ 315861 w 5794893"/>
              <a:gd name="connsiteY4379" fmla="*/ 4917414 h 6858000"/>
              <a:gd name="connsiteX4380" fmla="*/ 296197 w 5794893"/>
              <a:gd name="connsiteY4380" fmla="*/ 4773617 h 6858000"/>
              <a:gd name="connsiteX4381" fmla="*/ 178209 w 5794893"/>
              <a:gd name="connsiteY4381" fmla="*/ 4967805 h 6858000"/>
              <a:gd name="connsiteX4382" fmla="*/ 119216 w 5794893"/>
              <a:gd name="connsiteY4382" fmla="*/ 4972721 h 6858000"/>
              <a:gd name="connsiteX4383" fmla="*/ 129048 w 5794893"/>
              <a:gd name="connsiteY4383" fmla="*/ 5121433 h 6858000"/>
              <a:gd name="connsiteX4384" fmla="*/ 188042 w 5794893"/>
              <a:gd name="connsiteY4384" fmla="*/ 5116517 h 6858000"/>
              <a:gd name="connsiteX4385" fmla="*/ 178209 w 5794893"/>
              <a:gd name="connsiteY4385" fmla="*/ 4967805 h 6858000"/>
              <a:gd name="connsiteX4386" fmla="*/ 296197 w 5794893"/>
              <a:gd name="connsiteY4386" fmla="*/ 4967805 h 6858000"/>
              <a:gd name="connsiteX4387" fmla="*/ 239661 w 5794893"/>
              <a:gd name="connsiteY4387" fmla="*/ 4977637 h 6858000"/>
              <a:gd name="connsiteX4388" fmla="*/ 259326 w 5794893"/>
              <a:gd name="connsiteY4388" fmla="*/ 5121433 h 6858000"/>
              <a:gd name="connsiteX4389" fmla="*/ 315861 w 5794893"/>
              <a:gd name="connsiteY4389" fmla="*/ 5111601 h 6858000"/>
              <a:gd name="connsiteX4390" fmla="*/ 296197 w 5794893"/>
              <a:gd name="connsiteY4390" fmla="*/ 4967805 h 6858000"/>
              <a:gd name="connsiteX4391" fmla="*/ 651388 w 5794893"/>
              <a:gd name="connsiteY4391" fmla="*/ 4967805 h 6858000"/>
              <a:gd name="connsiteX4392" fmla="*/ 599769 w 5794893"/>
              <a:gd name="connsiteY4392" fmla="*/ 4992385 h 6858000"/>
              <a:gd name="connsiteX4393" fmla="*/ 648930 w 5794893"/>
              <a:gd name="connsiteY4393" fmla="*/ 5121433 h 6858000"/>
              <a:gd name="connsiteX4394" fmla="*/ 699320 w 5794893"/>
              <a:gd name="connsiteY4394" fmla="*/ 5095624 h 6858000"/>
              <a:gd name="connsiteX4395" fmla="*/ 651388 w 5794893"/>
              <a:gd name="connsiteY4395" fmla="*/ 4967805 h 6858000"/>
              <a:gd name="connsiteX4396" fmla="*/ 769375 w 5794893"/>
              <a:gd name="connsiteY4396" fmla="*/ 4967805 h 6858000"/>
              <a:gd name="connsiteX4397" fmla="*/ 720214 w 5794893"/>
              <a:gd name="connsiteY4397" fmla="*/ 4998530 h 6858000"/>
              <a:gd name="connsiteX4398" fmla="*/ 777978 w 5794893"/>
              <a:gd name="connsiteY4398" fmla="*/ 5121433 h 6858000"/>
              <a:gd name="connsiteX4399" fmla="*/ 827139 w 5794893"/>
              <a:gd name="connsiteY4399" fmla="*/ 5091936 h 6858000"/>
              <a:gd name="connsiteX4400" fmla="*/ 769375 w 5794893"/>
              <a:gd name="connsiteY4400" fmla="*/ 4967805 h 6858000"/>
              <a:gd name="connsiteX4401" fmla="*/ 887362 w 5794893"/>
              <a:gd name="connsiteY4401" fmla="*/ 4967805 h 6858000"/>
              <a:gd name="connsiteX4402" fmla="*/ 840659 w 5794893"/>
              <a:gd name="connsiteY4402" fmla="*/ 5002218 h 6858000"/>
              <a:gd name="connsiteX4403" fmla="*/ 908255 w 5794893"/>
              <a:gd name="connsiteY4403" fmla="*/ 5121433 h 6858000"/>
              <a:gd name="connsiteX4404" fmla="*/ 954959 w 5794893"/>
              <a:gd name="connsiteY4404" fmla="*/ 5087020 h 6858000"/>
              <a:gd name="connsiteX4405" fmla="*/ 887362 w 5794893"/>
              <a:gd name="connsiteY4405" fmla="*/ 4967805 h 6858000"/>
              <a:gd name="connsiteX4406" fmla="*/ 1005350 w 5794893"/>
              <a:gd name="connsiteY4406" fmla="*/ 4967805 h 6858000"/>
              <a:gd name="connsiteX4407" fmla="*/ 959875 w 5794893"/>
              <a:gd name="connsiteY4407" fmla="*/ 5007134 h 6858000"/>
              <a:gd name="connsiteX4408" fmla="*/ 1037304 w 5794893"/>
              <a:gd name="connsiteY4408" fmla="*/ 5120205 h 6858000"/>
              <a:gd name="connsiteX4409" fmla="*/ 1082778 w 5794893"/>
              <a:gd name="connsiteY4409" fmla="*/ 5080876 h 6858000"/>
              <a:gd name="connsiteX4410" fmla="*/ 1005350 w 5794893"/>
              <a:gd name="connsiteY4410" fmla="*/ 4967805 h 6858000"/>
              <a:gd name="connsiteX4411" fmla="*/ 1123337 w 5794893"/>
              <a:gd name="connsiteY4411" fmla="*/ 4969033 h 6858000"/>
              <a:gd name="connsiteX4412" fmla="*/ 1080320 w 5794893"/>
              <a:gd name="connsiteY4412" fmla="*/ 5013278 h 6858000"/>
              <a:gd name="connsiteX4413" fmla="*/ 1167582 w 5794893"/>
              <a:gd name="connsiteY4413" fmla="*/ 5121433 h 6858000"/>
              <a:gd name="connsiteX4414" fmla="*/ 1210598 w 5794893"/>
              <a:gd name="connsiteY4414" fmla="*/ 5077188 h 6858000"/>
              <a:gd name="connsiteX4415" fmla="*/ 1123337 w 5794893"/>
              <a:gd name="connsiteY4415" fmla="*/ 4969033 h 6858000"/>
              <a:gd name="connsiteX4416" fmla="*/ 1241324 w 5794893"/>
              <a:gd name="connsiteY4416" fmla="*/ 4969033 h 6858000"/>
              <a:gd name="connsiteX4417" fmla="*/ 1200765 w 5794893"/>
              <a:gd name="connsiteY4417" fmla="*/ 5018194 h 6858000"/>
              <a:gd name="connsiteX4418" fmla="*/ 1297860 w 5794893"/>
              <a:gd name="connsiteY4418" fmla="*/ 5121433 h 6858000"/>
              <a:gd name="connsiteX4419" fmla="*/ 1338417 w 5794893"/>
              <a:gd name="connsiteY4419" fmla="*/ 5072272 h 6858000"/>
              <a:gd name="connsiteX4420" fmla="*/ 1241324 w 5794893"/>
              <a:gd name="connsiteY4420" fmla="*/ 4969033 h 6858000"/>
              <a:gd name="connsiteX4421" fmla="*/ 1359311 w 5794893"/>
              <a:gd name="connsiteY4421" fmla="*/ 4969033 h 6858000"/>
              <a:gd name="connsiteX4422" fmla="*/ 1319982 w 5794893"/>
              <a:gd name="connsiteY4422" fmla="*/ 5023110 h 6858000"/>
              <a:gd name="connsiteX4423" fmla="*/ 1426908 w 5794893"/>
              <a:gd name="connsiteY4423" fmla="*/ 5121433 h 6858000"/>
              <a:gd name="connsiteX4424" fmla="*/ 1466237 w 5794893"/>
              <a:gd name="connsiteY4424" fmla="*/ 5067356 h 6858000"/>
              <a:gd name="connsiteX4425" fmla="*/ 1359311 w 5794893"/>
              <a:gd name="connsiteY4425" fmla="*/ 4969033 h 6858000"/>
              <a:gd name="connsiteX4426" fmla="*/ 415413 w 5794893"/>
              <a:gd name="connsiteY4426" fmla="*/ 4969033 h 6858000"/>
              <a:gd name="connsiteX4427" fmla="*/ 360106 w 5794893"/>
              <a:gd name="connsiteY4427" fmla="*/ 4983781 h 6858000"/>
              <a:gd name="connsiteX4428" fmla="*/ 389603 w 5794893"/>
              <a:gd name="connsiteY4428" fmla="*/ 5122663 h 6858000"/>
              <a:gd name="connsiteX4429" fmla="*/ 444910 w 5794893"/>
              <a:gd name="connsiteY4429" fmla="*/ 5107914 h 6858000"/>
              <a:gd name="connsiteX4430" fmla="*/ 415413 w 5794893"/>
              <a:gd name="connsiteY4430" fmla="*/ 4969033 h 6858000"/>
              <a:gd name="connsiteX4431" fmla="*/ 532171 w 5794893"/>
              <a:gd name="connsiteY4431" fmla="*/ 4969033 h 6858000"/>
              <a:gd name="connsiteX4432" fmla="*/ 479323 w 5794893"/>
              <a:gd name="connsiteY4432" fmla="*/ 4988698 h 6858000"/>
              <a:gd name="connsiteX4433" fmla="*/ 518652 w 5794893"/>
              <a:gd name="connsiteY4433" fmla="*/ 5122663 h 6858000"/>
              <a:gd name="connsiteX4434" fmla="*/ 571500 w 5794893"/>
              <a:gd name="connsiteY4434" fmla="*/ 5102998 h 6858000"/>
              <a:gd name="connsiteX4435" fmla="*/ 532171 w 5794893"/>
              <a:gd name="connsiteY4435" fmla="*/ 4969033 h 6858000"/>
              <a:gd name="connsiteX4436" fmla="*/ 178209 w 5794893"/>
              <a:gd name="connsiteY4436" fmla="*/ 5161992 h 6858000"/>
              <a:gd name="connsiteX4437" fmla="*/ 119216 w 5794893"/>
              <a:gd name="connsiteY4437" fmla="*/ 5166908 h 6858000"/>
              <a:gd name="connsiteX4438" fmla="*/ 129048 w 5794893"/>
              <a:gd name="connsiteY4438" fmla="*/ 5315620 h 6858000"/>
              <a:gd name="connsiteX4439" fmla="*/ 188042 w 5794893"/>
              <a:gd name="connsiteY4439" fmla="*/ 5310704 h 6858000"/>
              <a:gd name="connsiteX4440" fmla="*/ 178209 w 5794893"/>
              <a:gd name="connsiteY4440" fmla="*/ 5161992 h 6858000"/>
              <a:gd name="connsiteX4441" fmla="*/ 296197 w 5794893"/>
              <a:gd name="connsiteY4441" fmla="*/ 5161992 h 6858000"/>
              <a:gd name="connsiteX4442" fmla="*/ 239661 w 5794893"/>
              <a:gd name="connsiteY4442" fmla="*/ 5171824 h 6858000"/>
              <a:gd name="connsiteX4443" fmla="*/ 259326 w 5794893"/>
              <a:gd name="connsiteY4443" fmla="*/ 5315620 h 6858000"/>
              <a:gd name="connsiteX4444" fmla="*/ 315861 w 5794893"/>
              <a:gd name="connsiteY4444" fmla="*/ 5305788 h 6858000"/>
              <a:gd name="connsiteX4445" fmla="*/ 296197 w 5794893"/>
              <a:gd name="connsiteY4445" fmla="*/ 5161992 h 6858000"/>
              <a:gd name="connsiteX4446" fmla="*/ 651388 w 5794893"/>
              <a:gd name="connsiteY4446" fmla="*/ 5161992 h 6858000"/>
              <a:gd name="connsiteX4447" fmla="*/ 599769 w 5794893"/>
              <a:gd name="connsiteY4447" fmla="*/ 5186573 h 6858000"/>
              <a:gd name="connsiteX4448" fmla="*/ 648930 w 5794893"/>
              <a:gd name="connsiteY4448" fmla="*/ 5315620 h 6858000"/>
              <a:gd name="connsiteX4449" fmla="*/ 699320 w 5794893"/>
              <a:gd name="connsiteY4449" fmla="*/ 5291040 h 6858000"/>
              <a:gd name="connsiteX4450" fmla="*/ 651388 w 5794893"/>
              <a:gd name="connsiteY4450" fmla="*/ 5161992 h 6858000"/>
              <a:gd name="connsiteX4451" fmla="*/ 769375 w 5794893"/>
              <a:gd name="connsiteY4451" fmla="*/ 5161992 h 6858000"/>
              <a:gd name="connsiteX4452" fmla="*/ 720214 w 5794893"/>
              <a:gd name="connsiteY4452" fmla="*/ 5192717 h 6858000"/>
              <a:gd name="connsiteX4453" fmla="*/ 777978 w 5794893"/>
              <a:gd name="connsiteY4453" fmla="*/ 5315620 h 6858000"/>
              <a:gd name="connsiteX4454" fmla="*/ 827139 w 5794893"/>
              <a:gd name="connsiteY4454" fmla="*/ 5286124 h 6858000"/>
              <a:gd name="connsiteX4455" fmla="*/ 769375 w 5794893"/>
              <a:gd name="connsiteY4455" fmla="*/ 5161992 h 6858000"/>
              <a:gd name="connsiteX4456" fmla="*/ 1359311 w 5794893"/>
              <a:gd name="connsiteY4456" fmla="*/ 5161992 h 6858000"/>
              <a:gd name="connsiteX4457" fmla="*/ 1319982 w 5794893"/>
              <a:gd name="connsiteY4457" fmla="*/ 5217298 h 6858000"/>
              <a:gd name="connsiteX4458" fmla="*/ 1426908 w 5794893"/>
              <a:gd name="connsiteY4458" fmla="*/ 5314392 h 6858000"/>
              <a:gd name="connsiteX4459" fmla="*/ 1466237 w 5794893"/>
              <a:gd name="connsiteY4459" fmla="*/ 5260315 h 6858000"/>
              <a:gd name="connsiteX4460" fmla="*/ 1359311 w 5794893"/>
              <a:gd name="connsiteY4460" fmla="*/ 5161992 h 6858000"/>
              <a:gd name="connsiteX4461" fmla="*/ 1476069 w 5794893"/>
              <a:gd name="connsiteY4461" fmla="*/ 5163220 h 6858000"/>
              <a:gd name="connsiteX4462" fmla="*/ 1439198 w 5794893"/>
              <a:gd name="connsiteY4462" fmla="*/ 5222214 h 6858000"/>
              <a:gd name="connsiteX4463" fmla="*/ 1555957 w 5794893"/>
              <a:gd name="connsiteY4463" fmla="*/ 5315620 h 6858000"/>
              <a:gd name="connsiteX4464" fmla="*/ 1592828 w 5794893"/>
              <a:gd name="connsiteY4464" fmla="*/ 5256627 h 6858000"/>
              <a:gd name="connsiteX4465" fmla="*/ 1476069 w 5794893"/>
              <a:gd name="connsiteY4465" fmla="*/ 5163220 h 6858000"/>
              <a:gd name="connsiteX4466" fmla="*/ 887362 w 5794893"/>
              <a:gd name="connsiteY4466" fmla="*/ 5163220 h 6858000"/>
              <a:gd name="connsiteX4467" fmla="*/ 840659 w 5794893"/>
              <a:gd name="connsiteY4467" fmla="*/ 5197633 h 6858000"/>
              <a:gd name="connsiteX4468" fmla="*/ 908255 w 5794893"/>
              <a:gd name="connsiteY4468" fmla="*/ 5315620 h 6858000"/>
              <a:gd name="connsiteX4469" fmla="*/ 954959 w 5794893"/>
              <a:gd name="connsiteY4469" fmla="*/ 5282437 h 6858000"/>
              <a:gd name="connsiteX4470" fmla="*/ 887362 w 5794893"/>
              <a:gd name="connsiteY4470" fmla="*/ 5163220 h 6858000"/>
              <a:gd name="connsiteX4471" fmla="*/ 1005350 w 5794893"/>
              <a:gd name="connsiteY4471" fmla="*/ 5163220 h 6858000"/>
              <a:gd name="connsiteX4472" fmla="*/ 959875 w 5794893"/>
              <a:gd name="connsiteY4472" fmla="*/ 5202549 h 6858000"/>
              <a:gd name="connsiteX4473" fmla="*/ 1037304 w 5794893"/>
              <a:gd name="connsiteY4473" fmla="*/ 5315620 h 6858000"/>
              <a:gd name="connsiteX4474" fmla="*/ 1082778 w 5794893"/>
              <a:gd name="connsiteY4474" fmla="*/ 5276291 h 6858000"/>
              <a:gd name="connsiteX4475" fmla="*/ 1005350 w 5794893"/>
              <a:gd name="connsiteY4475" fmla="*/ 5163220 h 6858000"/>
              <a:gd name="connsiteX4476" fmla="*/ 1123337 w 5794893"/>
              <a:gd name="connsiteY4476" fmla="*/ 5163220 h 6858000"/>
              <a:gd name="connsiteX4477" fmla="*/ 1080320 w 5794893"/>
              <a:gd name="connsiteY4477" fmla="*/ 5207466 h 6858000"/>
              <a:gd name="connsiteX4478" fmla="*/ 1167582 w 5794893"/>
              <a:gd name="connsiteY4478" fmla="*/ 5315620 h 6858000"/>
              <a:gd name="connsiteX4479" fmla="*/ 1210598 w 5794893"/>
              <a:gd name="connsiteY4479" fmla="*/ 5271375 h 6858000"/>
              <a:gd name="connsiteX4480" fmla="*/ 1123337 w 5794893"/>
              <a:gd name="connsiteY4480" fmla="*/ 5163220 h 6858000"/>
              <a:gd name="connsiteX4481" fmla="*/ 1242552 w 5794893"/>
              <a:gd name="connsiteY4481" fmla="*/ 5163220 h 6858000"/>
              <a:gd name="connsiteX4482" fmla="*/ 1200765 w 5794893"/>
              <a:gd name="connsiteY4482" fmla="*/ 5212382 h 6858000"/>
              <a:gd name="connsiteX4483" fmla="*/ 1297860 w 5794893"/>
              <a:gd name="connsiteY4483" fmla="*/ 5315620 h 6858000"/>
              <a:gd name="connsiteX4484" fmla="*/ 1338417 w 5794893"/>
              <a:gd name="connsiteY4484" fmla="*/ 5266459 h 6858000"/>
              <a:gd name="connsiteX4485" fmla="*/ 1242552 w 5794893"/>
              <a:gd name="connsiteY4485" fmla="*/ 5163220 h 6858000"/>
              <a:gd name="connsiteX4486" fmla="*/ 415413 w 5794893"/>
              <a:gd name="connsiteY4486" fmla="*/ 5163220 h 6858000"/>
              <a:gd name="connsiteX4487" fmla="*/ 360106 w 5794893"/>
              <a:gd name="connsiteY4487" fmla="*/ 5177969 h 6858000"/>
              <a:gd name="connsiteX4488" fmla="*/ 389603 w 5794893"/>
              <a:gd name="connsiteY4488" fmla="*/ 5316850 h 6858000"/>
              <a:gd name="connsiteX4489" fmla="*/ 444910 w 5794893"/>
              <a:gd name="connsiteY4489" fmla="*/ 5302102 h 6858000"/>
              <a:gd name="connsiteX4490" fmla="*/ 415413 w 5794893"/>
              <a:gd name="connsiteY4490" fmla="*/ 5163220 h 6858000"/>
              <a:gd name="connsiteX4491" fmla="*/ 532171 w 5794893"/>
              <a:gd name="connsiteY4491" fmla="*/ 5163220 h 6858000"/>
              <a:gd name="connsiteX4492" fmla="*/ 479323 w 5794893"/>
              <a:gd name="connsiteY4492" fmla="*/ 5182885 h 6858000"/>
              <a:gd name="connsiteX4493" fmla="*/ 518652 w 5794893"/>
              <a:gd name="connsiteY4493" fmla="*/ 5315620 h 6858000"/>
              <a:gd name="connsiteX4494" fmla="*/ 571500 w 5794893"/>
              <a:gd name="connsiteY4494" fmla="*/ 5297186 h 6858000"/>
              <a:gd name="connsiteX4495" fmla="*/ 532171 w 5794893"/>
              <a:gd name="connsiteY4495" fmla="*/ 5163220 h 6858000"/>
              <a:gd name="connsiteX4496" fmla="*/ 178209 w 5794893"/>
              <a:gd name="connsiteY4496" fmla="*/ 5350033 h 6858000"/>
              <a:gd name="connsiteX4497" fmla="*/ 119216 w 5794893"/>
              <a:gd name="connsiteY4497" fmla="*/ 5354950 h 6858000"/>
              <a:gd name="connsiteX4498" fmla="*/ 129048 w 5794893"/>
              <a:gd name="connsiteY4498" fmla="*/ 5503663 h 6858000"/>
              <a:gd name="connsiteX4499" fmla="*/ 188042 w 5794893"/>
              <a:gd name="connsiteY4499" fmla="*/ 5498747 h 6858000"/>
              <a:gd name="connsiteX4500" fmla="*/ 178209 w 5794893"/>
              <a:gd name="connsiteY4500" fmla="*/ 5350033 h 6858000"/>
              <a:gd name="connsiteX4501" fmla="*/ 296197 w 5794893"/>
              <a:gd name="connsiteY4501" fmla="*/ 5350033 h 6858000"/>
              <a:gd name="connsiteX4502" fmla="*/ 239661 w 5794893"/>
              <a:gd name="connsiteY4502" fmla="*/ 5359867 h 6858000"/>
              <a:gd name="connsiteX4503" fmla="*/ 259326 w 5794893"/>
              <a:gd name="connsiteY4503" fmla="*/ 5503663 h 6858000"/>
              <a:gd name="connsiteX4504" fmla="*/ 315861 w 5794893"/>
              <a:gd name="connsiteY4504" fmla="*/ 5493831 h 6858000"/>
              <a:gd name="connsiteX4505" fmla="*/ 296197 w 5794893"/>
              <a:gd name="connsiteY4505" fmla="*/ 5350033 h 6858000"/>
              <a:gd name="connsiteX4506" fmla="*/ 415413 w 5794893"/>
              <a:gd name="connsiteY4506" fmla="*/ 5350033 h 6858000"/>
              <a:gd name="connsiteX4507" fmla="*/ 360106 w 5794893"/>
              <a:gd name="connsiteY4507" fmla="*/ 5364783 h 6858000"/>
              <a:gd name="connsiteX4508" fmla="*/ 389603 w 5794893"/>
              <a:gd name="connsiteY4508" fmla="*/ 5503663 h 6858000"/>
              <a:gd name="connsiteX4509" fmla="*/ 444910 w 5794893"/>
              <a:gd name="connsiteY4509" fmla="*/ 5488915 h 6858000"/>
              <a:gd name="connsiteX4510" fmla="*/ 415413 w 5794893"/>
              <a:gd name="connsiteY4510" fmla="*/ 5350033 h 6858000"/>
              <a:gd name="connsiteX4511" fmla="*/ 532171 w 5794893"/>
              <a:gd name="connsiteY4511" fmla="*/ 5350033 h 6858000"/>
              <a:gd name="connsiteX4512" fmla="*/ 479323 w 5794893"/>
              <a:gd name="connsiteY4512" fmla="*/ 5369698 h 6858000"/>
              <a:gd name="connsiteX4513" fmla="*/ 518652 w 5794893"/>
              <a:gd name="connsiteY4513" fmla="*/ 5503663 h 6858000"/>
              <a:gd name="connsiteX4514" fmla="*/ 571500 w 5794893"/>
              <a:gd name="connsiteY4514" fmla="*/ 5483999 h 6858000"/>
              <a:gd name="connsiteX4515" fmla="*/ 532171 w 5794893"/>
              <a:gd name="connsiteY4515" fmla="*/ 5350033 h 6858000"/>
              <a:gd name="connsiteX4516" fmla="*/ 651388 w 5794893"/>
              <a:gd name="connsiteY4516" fmla="*/ 5350033 h 6858000"/>
              <a:gd name="connsiteX4517" fmla="*/ 599769 w 5794893"/>
              <a:gd name="connsiteY4517" fmla="*/ 5374614 h 6858000"/>
              <a:gd name="connsiteX4518" fmla="*/ 648930 w 5794893"/>
              <a:gd name="connsiteY4518" fmla="*/ 5503663 h 6858000"/>
              <a:gd name="connsiteX4519" fmla="*/ 699320 w 5794893"/>
              <a:gd name="connsiteY4519" fmla="*/ 5479083 h 6858000"/>
              <a:gd name="connsiteX4520" fmla="*/ 651388 w 5794893"/>
              <a:gd name="connsiteY4520" fmla="*/ 5350033 h 6858000"/>
              <a:gd name="connsiteX4521" fmla="*/ 769375 w 5794893"/>
              <a:gd name="connsiteY4521" fmla="*/ 5350033 h 6858000"/>
              <a:gd name="connsiteX4522" fmla="*/ 720214 w 5794893"/>
              <a:gd name="connsiteY4522" fmla="*/ 5378302 h 6858000"/>
              <a:gd name="connsiteX4523" fmla="*/ 777978 w 5794893"/>
              <a:gd name="connsiteY4523" fmla="*/ 5502434 h 6858000"/>
              <a:gd name="connsiteX4524" fmla="*/ 827139 w 5794893"/>
              <a:gd name="connsiteY4524" fmla="*/ 5472937 h 6858000"/>
              <a:gd name="connsiteX4525" fmla="*/ 769375 w 5794893"/>
              <a:gd name="connsiteY4525" fmla="*/ 5350033 h 6858000"/>
              <a:gd name="connsiteX4526" fmla="*/ 887362 w 5794893"/>
              <a:gd name="connsiteY4526" fmla="*/ 5350033 h 6858000"/>
              <a:gd name="connsiteX4527" fmla="*/ 840659 w 5794893"/>
              <a:gd name="connsiteY4527" fmla="*/ 5384448 h 6858000"/>
              <a:gd name="connsiteX4528" fmla="*/ 908255 w 5794893"/>
              <a:gd name="connsiteY4528" fmla="*/ 5503663 h 6858000"/>
              <a:gd name="connsiteX4529" fmla="*/ 954959 w 5794893"/>
              <a:gd name="connsiteY4529" fmla="*/ 5469250 h 6858000"/>
              <a:gd name="connsiteX4530" fmla="*/ 887362 w 5794893"/>
              <a:gd name="connsiteY4530" fmla="*/ 5350033 h 6858000"/>
              <a:gd name="connsiteX4531" fmla="*/ 1005350 w 5794893"/>
              <a:gd name="connsiteY4531" fmla="*/ 5350033 h 6858000"/>
              <a:gd name="connsiteX4532" fmla="*/ 959875 w 5794893"/>
              <a:gd name="connsiteY4532" fmla="*/ 5388134 h 6858000"/>
              <a:gd name="connsiteX4533" fmla="*/ 1037304 w 5794893"/>
              <a:gd name="connsiteY4533" fmla="*/ 5502434 h 6858000"/>
              <a:gd name="connsiteX4534" fmla="*/ 1082778 w 5794893"/>
              <a:gd name="connsiteY4534" fmla="*/ 5463106 h 6858000"/>
              <a:gd name="connsiteX4535" fmla="*/ 1005350 w 5794893"/>
              <a:gd name="connsiteY4535" fmla="*/ 5350033 h 6858000"/>
              <a:gd name="connsiteX4536" fmla="*/ 1123337 w 5794893"/>
              <a:gd name="connsiteY4536" fmla="*/ 5350033 h 6858000"/>
              <a:gd name="connsiteX4537" fmla="*/ 1080320 w 5794893"/>
              <a:gd name="connsiteY4537" fmla="*/ 5394279 h 6858000"/>
              <a:gd name="connsiteX4538" fmla="*/ 1167582 w 5794893"/>
              <a:gd name="connsiteY4538" fmla="*/ 5503663 h 6858000"/>
              <a:gd name="connsiteX4539" fmla="*/ 1210598 w 5794893"/>
              <a:gd name="connsiteY4539" fmla="*/ 5459418 h 6858000"/>
              <a:gd name="connsiteX4540" fmla="*/ 1123337 w 5794893"/>
              <a:gd name="connsiteY4540" fmla="*/ 5350033 h 6858000"/>
              <a:gd name="connsiteX4541" fmla="*/ 1242552 w 5794893"/>
              <a:gd name="connsiteY4541" fmla="*/ 5350033 h 6858000"/>
              <a:gd name="connsiteX4542" fmla="*/ 1200765 w 5794893"/>
              <a:gd name="connsiteY4542" fmla="*/ 5399195 h 6858000"/>
              <a:gd name="connsiteX4543" fmla="*/ 1297860 w 5794893"/>
              <a:gd name="connsiteY4543" fmla="*/ 5503663 h 6858000"/>
              <a:gd name="connsiteX4544" fmla="*/ 1338417 w 5794893"/>
              <a:gd name="connsiteY4544" fmla="*/ 5454502 h 6858000"/>
              <a:gd name="connsiteX4545" fmla="*/ 1242552 w 5794893"/>
              <a:gd name="connsiteY4545" fmla="*/ 5350033 h 6858000"/>
              <a:gd name="connsiteX4546" fmla="*/ 1359311 w 5794893"/>
              <a:gd name="connsiteY4546" fmla="*/ 5350033 h 6858000"/>
              <a:gd name="connsiteX4547" fmla="*/ 1319982 w 5794893"/>
              <a:gd name="connsiteY4547" fmla="*/ 5404111 h 6858000"/>
              <a:gd name="connsiteX4548" fmla="*/ 1426908 w 5794893"/>
              <a:gd name="connsiteY4548" fmla="*/ 5502434 h 6858000"/>
              <a:gd name="connsiteX4549" fmla="*/ 1466237 w 5794893"/>
              <a:gd name="connsiteY4549" fmla="*/ 5448356 h 6858000"/>
              <a:gd name="connsiteX4550" fmla="*/ 1359311 w 5794893"/>
              <a:gd name="connsiteY4550" fmla="*/ 5350033 h 6858000"/>
              <a:gd name="connsiteX4551" fmla="*/ 1476069 w 5794893"/>
              <a:gd name="connsiteY4551" fmla="*/ 5350033 h 6858000"/>
              <a:gd name="connsiteX4552" fmla="*/ 1439198 w 5794893"/>
              <a:gd name="connsiteY4552" fmla="*/ 5409028 h 6858000"/>
              <a:gd name="connsiteX4553" fmla="*/ 1555957 w 5794893"/>
              <a:gd name="connsiteY4553" fmla="*/ 5503663 h 6858000"/>
              <a:gd name="connsiteX4554" fmla="*/ 1592828 w 5794893"/>
              <a:gd name="connsiteY4554" fmla="*/ 5444670 h 6858000"/>
              <a:gd name="connsiteX4555" fmla="*/ 1476069 w 5794893"/>
              <a:gd name="connsiteY4555" fmla="*/ 5350033 h 6858000"/>
              <a:gd name="connsiteX4556" fmla="*/ 178209 w 5794893"/>
              <a:gd name="connsiteY4556" fmla="*/ 5541763 h 6858000"/>
              <a:gd name="connsiteX4557" fmla="*/ 119216 w 5794893"/>
              <a:gd name="connsiteY4557" fmla="*/ 5546679 h 6858000"/>
              <a:gd name="connsiteX4558" fmla="*/ 129048 w 5794893"/>
              <a:gd name="connsiteY4558" fmla="*/ 5695392 h 6858000"/>
              <a:gd name="connsiteX4559" fmla="*/ 188042 w 5794893"/>
              <a:gd name="connsiteY4559" fmla="*/ 5690476 h 6858000"/>
              <a:gd name="connsiteX4560" fmla="*/ 178209 w 5794893"/>
              <a:gd name="connsiteY4560" fmla="*/ 5541763 h 6858000"/>
              <a:gd name="connsiteX4561" fmla="*/ 296197 w 5794893"/>
              <a:gd name="connsiteY4561" fmla="*/ 5541763 h 6858000"/>
              <a:gd name="connsiteX4562" fmla="*/ 239661 w 5794893"/>
              <a:gd name="connsiteY4562" fmla="*/ 5551595 h 6858000"/>
              <a:gd name="connsiteX4563" fmla="*/ 259326 w 5794893"/>
              <a:gd name="connsiteY4563" fmla="*/ 5695392 h 6858000"/>
              <a:gd name="connsiteX4564" fmla="*/ 315861 w 5794893"/>
              <a:gd name="connsiteY4564" fmla="*/ 5685560 h 6858000"/>
              <a:gd name="connsiteX4565" fmla="*/ 296197 w 5794893"/>
              <a:gd name="connsiteY4565" fmla="*/ 5541763 h 6858000"/>
              <a:gd name="connsiteX4566" fmla="*/ 651388 w 5794893"/>
              <a:gd name="connsiteY4566" fmla="*/ 5541763 h 6858000"/>
              <a:gd name="connsiteX4567" fmla="*/ 599769 w 5794893"/>
              <a:gd name="connsiteY4567" fmla="*/ 5567573 h 6858000"/>
              <a:gd name="connsiteX4568" fmla="*/ 648930 w 5794893"/>
              <a:gd name="connsiteY4568" fmla="*/ 5695392 h 6858000"/>
              <a:gd name="connsiteX4569" fmla="*/ 699320 w 5794893"/>
              <a:gd name="connsiteY4569" fmla="*/ 5670812 h 6858000"/>
              <a:gd name="connsiteX4570" fmla="*/ 651388 w 5794893"/>
              <a:gd name="connsiteY4570" fmla="*/ 5541763 h 6858000"/>
              <a:gd name="connsiteX4571" fmla="*/ 769375 w 5794893"/>
              <a:gd name="connsiteY4571" fmla="*/ 5541763 h 6858000"/>
              <a:gd name="connsiteX4572" fmla="*/ 720214 w 5794893"/>
              <a:gd name="connsiteY4572" fmla="*/ 5572489 h 6858000"/>
              <a:gd name="connsiteX4573" fmla="*/ 777978 w 5794893"/>
              <a:gd name="connsiteY4573" fmla="*/ 5695392 h 6858000"/>
              <a:gd name="connsiteX4574" fmla="*/ 827139 w 5794893"/>
              <a:gd name="connsiteY4574" fmla="*/ 5665896 h 6858000"/>
              <a:gd name="connsiteX4575" fmla="*/ 769375 w 5794893"/>
              <a:gd name="connsiteY4575" fmla="*/ 5541763 h 6858000"/>
              <a:gd name="connsiteX4576" fmla="*/ 887362 w 5794893"/>
              <a:gd name="connsiteY4576" fmla="*/ 5541763 h 6858000"/>
              <a:gd name="connsiteX4577" fmla="*/ 840659 w 5794893"/>
              <a:gd name="connsiteY4577" fmla="*/ 5576176 h 6858000"/>
              <a:gd name="connsiteX4578" fmla="*/ 908255 w 5794893"/>
              <a:gd name="connsiteY4578" fmla="*/ 5695392 h 6858000"/>
              <a:gd name="connsiteX4579" fmla="*/ 954959 w 5794893"/>
              <a:gd name="connsiteY4579" fmla="*/ 5660980 h 6858000"/>
              <a:gd name="connsiteX4580" fmla="*/ 887362 w 5794893"/>
              <a:gd name="connsiteY4580" fmla="*/ 5541763 h 6858000"/>
              <a:gd name="connsiteX4581" fmla="*/ 1005350 w 5794893"/>
              <a:gd name="connsiteY4581" fmla="*/ 5541763 h 6858000"/>
              <a:gd name="connsiteX4582" fmla="*/ 959875 w 5794893"/>
              <a:gd name="connsiteY4582" fmla="*/ 5581093 h 6858000"/>
              <a:gd name="connsiteX4583" fmla="*/ 1037304 w 5794893"/>
              <a:gd name="connsiteY4583" fmla="*/ 5694163 h 6858000"/>
              <a:gd name="connsiteX4584" fmla="*/ 1082778 w 5794893"/>
              <a:gd name="connsiteY4584" fmla="*/ 5654835 h 6858000"/>
              <a:gd name="connsiteX4585" fmla="*/ 1005350 w 5794893"/>
              <a:gd name="connsiteY4585" fmla="*/ 5541763 h 6858000"/>
              <a:gd name="connsiteX4586" fmla="*/ 1123337 w 5794893"/>
              <a:gd name="connsiteY4586" fmla="*/ 5541763 h 6858000"/>
              <a:gd name="connsiteX4587" fmla="*/ 1080320 w 5794893"/>
              <a:gd name="connsiteY4587" fmla="*/ 5587238 h 6858000"/>
              <a:gd name="connsiteX4588" fmla="*/ 1167582 w 5794893"/>
              <a:gd name="connsiteY4588" fmla="*/ 5695392 h 6858000"/>
              <a:gd name="connsiteX4589" fmla="*/ 1210598 w 5794893"/>
              <a:gd name="connsiteY4589" fmla="*/ 5651147 h 6858000"/>
              <a:gd name="connsiteX4590" fmla="*/ 1123337 w 5794893"/>
              <a:gd name="connsiteY4590" fmla="*/ 5541763 h 6858000"/>
              <a:gd name="connsiteX4591" fmla="*/ 1242552 w 5794893"/>
              <a:gd name="connsiteY4591" fmla="*/ 5541763 h 6858000"/>
              <a:gd name="connsiteX4592" fmla="*/ 1200765 w 5794893"/>
              <a:gd name="connsiteY4592" fmla="*/ 5592154 h 6858000"/>
              <a:gd name="connsiteX4593" fmla="*/ 1297860 w 5794893"/>
              <a:gd name="connsiteY4593" fmla="*/ 5695392 h 6858000"/>
              <a:gd name="connsiteX4594" fmla="*/ 1338417 w 5794893"/>
              <a:gd name="connsiteY4594" fmla="*/ 5646231 h 6858000"/>
              <a:gd name="connsiteX4595" fmla="*/ 1242552 w 5794893"/>
              <a:gd name="connsiteY4595" fmla="*/ 5541763 h 6858000"/>
              <a:gd name="connsiteX4596" fmla="*/ 1359311 w 5794893"/>
              <a:gd name="connsiteY4596" fmla="*/ 5541763 h 6858000"/>
              <a:gd name="connsiteX4597" fmla="*/ 1319982 w 5794893"/>
              <a:gd name="connsiteY4597" fmla="*/ 5597070 h 6858000"/>
              <a:gd name="connsiteX4598" fmla="*/ 1426908 w 5794893"/>
              <a:gd name="connsiteY4598" fmla="*/ 5694163 h 6858000"/>
              <a:gd name="connsiteX4599" fmla="*/ 1466237 w 5794893"/>
              <a:gd name="connsiteY4599" fmla="*/ 5640085 h 6858000"/>
              <a:gd name="connsiteX4600" fmla="*/ 1359311 w 5794893"/>
              <a:gd name="connsiteY4600" fmla="*/ 5541763 h 6858000"/>
              <a:gd name="connsiteX4601" fmla="*/ 1476069 w 5794893"/>
              <a:gd name="connsiteY4601" fmla="*/ 5542992 h 6858000"/>
              <a:gd name="connsiteX4602" fmla="*/ 1439198 w 5794893"/>
              <a:gd name="connsiteY4602" fmla="*/ 5601986 h 6858000"/>
              <a:gd name="connsiteX4603" fmla="*/ 1555957 w 5794893"/>
              <a:gd name="connsiteY4603" fmla="*/ 5695392 h 6858000"/>
              <a:gd name="connsiteX4604" fmla="*/ 1592828 w 5794893"/>
              <a:gd name="connsiteY4604" fmla="*/ 5636399 h 6858000"/>
              <a:gd name="connsiteX4605" fmla="*/ 1476069 w 5794893"/>
              <a:gd name="connsiteY4605" fmla="*/ 5542992 h 6858000"/>
              <a:gd name="connsiteX4606" fmla="*/ 415413 w 5794893"/>
              <a:gd name="connsiteY4606" fmla="*/ 5542992 h 6858000"/>
              <a:gd name="connsiteX4607" fmla="*/ 360106 w 5794893"/>
              <a:gd name="connsiteY4607" fmla="*/ 5557741 h 6858000"/>
              <a:gd name="connsiteX4608" fmla="*/ 389603 w 5794893"/>
              <a:gd name="connsiteY4608" fmla="*/ 5695392 h 6858000"/>
              <a:gd name="connsiteX4609" fmla="*/ 444910 w 5794893"/>
              <a:gd name="connsiteY4609" fmla="*/ 5681872 h 6858000"/>
              <a:gd name="connsiteX4610" fmla="*/ 415413 w 5794893"/>
              <a:gd name="connsiteY4610" fmla="*/ 5542992 h 6858000"/>
              <a:gd name="connsiteX4611" fmla="*/ 532171 w 5794893"/>
              <a:gd name="connsiteY4611" fmla="*/ 5542992 h 6858000"/>
              <a:gd name="connsiteX4612" fmla="*/ 479323 w 5794893"/>
              <a:gd name="connsiteY4612" fmla="*/ 5562657 h 6858000"/>
              <a:gd name="connsiteX4613" fmla="*/ 518652 w 5794893"/>
              <a:gd name="connsiteY4613" fmla="*/ 5695392 h 6858000"/>
              <a:gd name="connsiteX4614" fmla="*/ 571500 w 5794893"/>
              <a:gd name="connsiteY4614" fmla="*/ 5676956 h 6858000"/>
              <a:gd name="connsiteX4615" fmla="*/ 532171 w 5794893"/>
              <a:gd name="connsiteY4615" fmla="*/ 5542992 h 6858000"/>
              <a:gd name="connsiteX4616" fmla="*/ 415413 w 5794893"/>
              <a:gd name="connsiteY4616" fmla="*/ 5733493 h 6858000"/>
              <a:gd name="connsiteX4617" fmla="*/ 360106 w 5794893"/>
              <a:gd name="connsiteY4617" fmla="*/ 5748240 h 6858000"/>
              <a:gd name="connsiteX4618" fmla="*/ 389603 w 5794893"/>
              <a:gd name="connsiteY4618" fmla="*/ 5887122 h 6858000"/>
              <a:gd name="connsiteX4619" fmla="*/ 444910 w 5794893"/>
              <a:gd name="connsiteY4619" fmla="*/ 5872373 h 6858000"/>
              <a:gd name="connsiteX4620" fmla="*/ 415413 w 5794893"/>
              <a:gd name="connsiteY4620" fmla="*/ 5733493 h 6858000"/>
              <a:gd name="connsiteX4621" fmla="*/ 651388 w 5794893"/>
              <a:gd name="connsiteY4621" fmla="*/ 5733493 h 6858000"/>
              <a:gd name="connsiteX4622" fmla="*/ 599769 w 5794893"/>
              <a:gd name="connsiteY4622" fmla="*/ 5758074 h 6858000"/>
              <a:gd name="connsiteX4623" fmla="*/ 648930 w 5794893"/>
              <a:gd name="connsiteY4623" fmla="*/ 5887122 h 6858000"/>
              <a:gd name="connsiteX4624" fmla="*/ 699320 w 5794893"/>
              <a:gd name="connsiteY4624" fmla="*/ 5862541 h 6858000"/>
              <a:gd name="connsiteX4625" fmla="*/ 651388 w 5794893"/>
              <a:gd name="connsiteY4625" fmla="*/ 5733493 h 6858000"/>
              <a:gd name="connsiteX4626" fmla="*/ 1123337 w 5794893"/>
              <a:gd name="connsiteY4626" fmla="*/ 5733493 h 6858000"/>
              <a:gd name="connsiteX4627" fmla="*/ 1080320 w 5794893"/>
              <a:gd name="connsiteY4627" fmla="*/ 5778967 h 6858000"/>
              <a:gd name="connsiteX4628" fmla="*/ 1167582 w 5794893"/>
              <a:gd name="connsiteY4628" fmla="*/ 5887122 h 6858000"/>
              <a:gd name="connsiteX4629" fmla="*/ 1210598 w 5794893"/>
              <a:gd name="connsiteY4629" fmla="*/ 5842877 h 6858000"/>
              <a:gd name="connsiteX4630" fmla="*/ 1123337 w 5794893"/>
              <a:gd name="connsiteY4630" fmla="*/ 5733493 h 6858000"/>
              <a:gd name="connsiteX4631" fmla="*/ 1242552 w 5794893"/>
              <a:gd name="connsiteY4631" fmla="*/ 5733493 h 6858000"/>
              <a:gd name="connsiteX4632" fmla="*/ 1200765 w 5794893"/>
              <a:gd name="connsiteY4632" fmla="*/ 5782655 h 6858000"/>
              <a:gd name="connsiteX4633" fmla="*/ 1297860 w 5794893"/>
              <a:gd name="connsiteY4633" fmla="*/ 5887122 h 6858000"/>
              <a:gd name="connsiteX4634" fmla="*/ 1338417 w 5794893"/>
              <a:gd name="connsiteY4634" fmla="*/ 5837960 h 6858000"/>
              <a:gd name="connsiteX4635" fmla="*/ 1242552 w 5794893"/>
              <a:gd name="connsiteY4635" fmla="*/ 5733493 h 6858000"/>
              <a:gd name="connsiteX4636" fmla="*/ 1359311 w 5794893"/>
              <a:gd name="connsiteY4636" fmla="*/ 5734722 h 6858000"/>
              <a:gd name="connsiteX4637" fmla="*/ 1319982 w 5794893"/>
              <a:gd name="connsiteY4637" fmla="*/ 5788799 h 6858000"/>
              <a:gd name="connsiteX4638" fmla="*/ 1426908 w 5794893"/>
              <a:gd name="connsiteY4638" fmla="*/ 5887122 h 6858000"/>
              <a:gd name="connsiteX4639" fmla="*/ 1466237 w 5794893"/>
              <a:gd name="connsiteY4639" fmla="*/ 5833044 h 6858000"/>
              <a:gd name="connsiteX4640" fmla="*/ 1359311 w 5794893"/>
              <a:gd name="connsiteY4640" fmla="*/ 5734722 h 6858000"/>
              <a:gd name="connsiteX4641" fmla="*/ 769375 w 5794893"/>
              <a:gd name="connsiteY4641" fmla="*/ 5734722 h 6858000"/>
              <a:gd name="connsiteX4642" fmla="*/ 720214 w 5794893"/>
              <a:gd name="connsiteY4642" fmla="*/ 5764218 h 6858000"/>
              <a:gd name="connsiteX4643" fmla="*/ 777978 w 5794893"/>
              <a:gd name="connsiteY4643" fmla="*/ 5888351 h 6858000"/>
              <a:gd name="connsiteX4644" fmla="*/ 827139 w 5794893"/>
              <a:gd name="connsiteY4644" fmla="*/ 5858853 h 6858000"/>
              <a:gd name="connsiteX4645" fmla="*/ 769375 w 5794893"/>
              <a:gd name="connsiteY4645" fmla="*/ 5734722 h 6858000"/>
              <a:gd name="connsiteX4646" fmla="*/ 1005350 w 5794893"/>
              <a:gd name="connsiteY4646" fmla="*/ 5734722 h 6858000"/>
              <a:gd name="connsiteX4647" fmla="*/ 959875 w 5794893"/>
              <a:gd name="connsiteY4647" fmla="*/ 5774051 h 6858000"/>
              <a:gd name="connsiteX4648" fmla="*/ 1037304 w 5794893"/>
              <a:gd name="connsiteY4648" fmla="*/ 5887122 h 6858000"/>
              <a:gd name="connsiteX4649" fmla="*/ 1082778 w 5794893"/>
              <a:gd name="connsiteY4649" fmla="*/ 5847793 h 6858000"/>
              <a:gd name="connsiteX4650" fmla="*/ 1005350 w 5794893"/>
              <a:gd name="connsiteY4650" fmla="*/ 5734722 h 6858000"/>
              <a:gd name="connsiteX4651" fmla="*/ 887362 w 5794893"/>
              <a:gd name="connsiteY4651" fmla="*/ 5735950 h 6858000"/>
              <a:gd name="connsiteX4652" fmla="*/ 840659 w 5794893"/>
              <a:gd name="connsiteY4652" fmla="*/ 5770364 h 6858000"/>
              <a:gd name="connsiteX4653" fmla="*/ 908255 w 5794893"/>
              <a:gd name="connsiteY4653" fmla="*/ 5888351 h 6858000"/>
              <a:gd name="connsiteX4654" fmla="*/ 954959 w 5794893"/>
              <a:gd name="connsiteY4654" fmla="*/ 5853937 h 6858000"/>
              <a:gd name="connsiteX4655" fmla="*/ 887362 w 5794893"/>
              <a:gd name="connsiteY4655" fmla="*/ 5735950 h 6858000"/>
              <a:gd name="connsiteX4656" fmla="*/ 532171 w 5794893"/>
              <a:gd name="connsiteY4656" fmla="*/ 5734722 h 6858000"/>
              <a:gd name="connsiteX4657" fmla="*/ 479323 w 5794893"/>
              <a:gd name="connsiteY4657" fmla="*/ 5754386 h 6858000"/>
              <a:gd name="connsiteX4658" fmla="*/ 518652 w 5794893"/>
              <a:gd name="connsiteY4658" fmla="*/ 5887122 h 6858000"/>
              <a:gd name="connsiteX4659" fmla="*/ 571500 w 5794893"/>
              <a:gd name="connsiteY4659" fmla="*/ 5868687 h 6858000"/>
              <a:gd name="connsiteX4660" fmla="*/ 532171 w 5794893"/>
              <a:gd name="connsiteY4660" fmla="*/ 5734722 h 6858000"/>
              <a:gd name="connsiteX4661" fmla="*/ 178209 w 5794893"/>
              <a:gd name="connsiteY4661" fmla="*/ 5734722 h 6858000"/>
              <a:gd name="connsiteX4662" fmla="*/ 119216 w 5794893"/>
              <a:gd name="connsiteY4662" fmla="*/ 5739638 h 6858000"/>
              <a:gd name="connsiteX4663" fmla="*/ 129048 w 5794893"/>
              <a:gd name="connsiteY4663" fmla="*/ 5888351 h 6858000"/>
              <a:gd name="connsiteX4664" fmla="*/ 188042 w 5794893"/>
              <a:gd name="connsiteY4664" fmla="*/ 5883434 h 6858000"/>
              <a:gd name="connsiteX4665" fmla="*/ 178209 w 5794893"/>
              <a:gd name="connsiteY4665" fmla="*/ 5734722 h 6858000"/>
              <a:gd name="connsiteX4666" fmla="*/ 296197 w 5794893"/>
              <a:gd name="connsiteY4666" fmla="*/ 5734722 h 6858000"/>
              <a:gd name="connsiteX4667" fmla="*/ 239661 w 5794893"/>
              <a:gd name="connsiteY4667" fmla="*/ 5744554 h 6858000"/>
              <a:gd name="connsiteX4668" fmla="*/ 259326 w 5794893"/>
              <a:gd name="connsiteY4668" fmla="*/ 5888351 h 6858000"/>
              <a:gd name="connsiteX4669" fmla="*/ 315861 w 5794893"/>
              <a:gd name="connsiteY4669" fmla="*/ 5878518 h 6858000"/>
              <a:gd name="connsiteX4670" fmla="*/ 296197 w 5794893"/>
              <a:gd name="connsiteY4670" fmla="*/ 5734722 h 6858000"/>
              <a:gd name="connsiteX4671" fmla="*/ 887362 w 5794893"/>
              <a:gd name="connsiteY4671" fmla="*/ 5925222 h 6858000"/>
              <a:gd name="connsiteX4672" fmla="*/ 840659 w 5794893"/>
              <a:gd name="connsiteY4672" fmla="*/ 5959634 h 6858000"/>
              <a:gd name="connsiteX4673" fmla="*/ 908255 w 5794893"/>
              <a:gd name="connsiteY4673" fmla="*/ 6078851 h 6858000"/>
              <a:gd name="connsiteX4674" fmla="*/ 954959 w 5794893"/>
              <a:gd name="connsiteY4674" fmla="*/ 6044438 h 6858000"/>
              <a:gd name="connsiteX4675" fmla="*/ 887362 w 5794893"/>
              <a:gd name="connsiteY4675" fmla="*/ 5925222 h 6858000"/>
              <a:gd name="connsiteX4676" fmla="*/ 1359311 w 5794893"/>
              <a:gd name="connsiteY4676" fmla="*/ 5925222 h 6858000"/>
              <a:gd name="connsiteX4677" fmla="*/ 1319982 w 5794893"/>
              <a:gd name="connsiteY4677" fmla="*/ 5980528 h 6858000"/>
              <a:gd name="connsiteX4678" fmla="*/ 1426908 w 5794893"/>
              <a:gd name="connsiteY4678" fmla="*/ 6077623 h 6858000"/>
              <a:gd name="connsiteX4679" fmla="*/ 1466237 w 5794893"/>
              <a:gd name="connsiteY4679" fmla="*/ 6023545 h 6858000"/>
              <a:gd name="connsiteX4680" fmla="*/ 1359311 w 5794893"/>
              <a:gd name="connsiteY4680" fmla="*/ 5925222 h 6858000"/>
              <a:gd name="connsiteX4681" fmla="*/ 1005350 w 5794893"/>
              <a:gd name="connsiteY4681" fmla="*/ 5926451 h 6858000"/>
              <a:gd name="connsiteX4682" fmla="*/ 959875 w 5794893"/>
              <a:gd name="connsiteY4682" fmla="*/ 5965780 h 6858000"/>
              <a:gd name="connsiteX4683" fmla="*/ 1037304 w 5794893"/>
              <a:gd name="connsiteY4683" fmla="*/ 6078851 h 6858000"/>
              <a:gd name="connsiteX4684" fmla="*/ 1082778 w 5794893"/>
              <a:gd name="connsiteY4684" fmla="*/ 6039522 h 6858000"/>
              <a:gd name="connsiteX4685" fmla="*/ 1005350 w 5794893"/>
              <a:gd name="connsiteY4685" fmla="*/ 5926451 h 6858000"/>
              <a:gd name="connsiteX4686" fmla="*/ 1123337 w 5794893"/>
              <a:gd name="connsiteY4686" fmla="*/ 5926451 h 6858000"/>
              <a:gd name="connsiteX4687" fmla="*/ 1080320 w 5794893"/>
              <a:gd name="connsiteY4687" fmla="*/ 5970696 h 6858000"/>
              <a:gd name="connsiteX4688" fmla="*/ 1167582 w 5794893"/>
              <a:gd name="connsiteY4688" fmla="*/ 6080079 h 6858000"/>
              <a:gd name="connsiteX4689" fmla="*/ 1210598 w 5794893"/>
              <a:gd name="connsiteY4689" fmla="*/ 6035835 h 6858000"/>
              <a:gd name="connsiteX4690" fmla="*/ 1123337 w 5794893"/>
              <a:gd name="connsiteY4690" fmla="*/ 5926451 h 6858000"/>
              <a:gd name="connsiteX4691" fmla="*/ 1242552 w 5794893"/>
              <a:gd name="connsiteY4691" fmla="*/ 5927679 h 6858000"/>
              <a:gd name="connsiteX4692" fmla="*/ 1200765 w 5794893"/>
              <a:gd name="connsiteY4692" fmla="*/ 5976841 h 6858000"/>
              <a:gd name="connsiteX4693" fmla="*/ 1297860 w 5794893"/>
              <a:gd name="connsiteY4693" fmla="*/ 6080079 h 6858000"/>
              <a:gd name="connsiteX4694" fmla="*/ 1338417 w 5794893"/>
              <a:gd name="connsiteY4694" fmla="*/ 6030918 h 6858000"/>
              <a:gd name="connsiteX4695" fmla="*/ 1242552 w 5794893"/>
              <a:gd name="connsiteY4695" fmla="*/ 5927679 h 6858000"/>
              <a:gd name="connsiteX4696" fmla="*/ 178209 w 5794893"/>
              <a:gd name="connsiteY4696" fmla="*/ 5926451 h 6858000"/>
              <a:gd name="connsiteX4697" fmla="*/ 119216 w 5794893"/>
              <a:gd name="connsiteY4697" fmla="*/ 5931367 h 6858000"/>
              <a:gd name="connsiteX4698" fmla="*/ 129048 w 5794893"/>
              <a:gd name="connsiteY4698" fmla="*/ 6080079 h 6858000"/>
              <a:gd name="connsiteX4699" fmla="*/ 188042 w 5794893"/>
              <a:gd name="connsiteY4699" fmla="*/ 6075163 h 6858000"/>
              <a:gd name="connsiteX4700" fmla="*/ 178209 w 5794893"/>
              <a:gd name="connsiteY4700" fmla="*/ 5926451 h 6858000"/>
              <a:gd name="connsiteX4701" fmla="*/ 296197 w 5794893"/>
              <a:gd name="connsiteY4701" fmla="*/ 5926451 h 6858000"/>
              <a:gd name="connsiteX4702" fmla="*/ 239661 w 5794893"/>
              <a:gd name="connsiteY4702" fmla="*/ 5936283 h 6858000"/>
              <a:gd name="connsiteX4703" fmla="*/ 259326 w 5794893"/>
              <a:gd name="connsiteY4703" fmla="*/ 6080079 h 6858000"/>
              <a:gd name="connsiteX4704" fmla="*/ 315861 w 5794893"/>
              <a:gd name="connsiteY4704" fmla="*/ 6070247 h 6858000"/>
              <a:gd name="connsiteX4705" fmla="*/ 296197 w 5794893"/>
              <a:gd name="connsiteY4705" fmla="*/ 5926451 h 6858000"/>
              <a:gd name="connsiteX4706" fmla="*/ 415413 w 5794893"/>
              <a:gd name="connsiteY4706" fmla="*/ 5926451 h 6858000"/>
              <a:gd name="connsiteX4707" fmla="*/ 360106 w 5794893"/>
              <a:gd name="connsiteY4707" fmla="*/ 5941199 h 6858000"/>
              <a:gd name="connsiteX4708" fmla="*/ 389603 w 5794893"/>
              <a:gd name="connsiteY4708" fmla="*/ 6080079 h 6858000"/>
              <a:gd name="connsiteX4709" fmla="*/ 444910 w 5794893"/>
              <a:gd name="connsiteY4709" fmla="*/ 6065332 h 6858000"/>
              <a:gd name="connsiteX4710" fmla="*/ 415413 w 5794893"/>
              <a:gd name="connsiteY4710" fmla="*/ 5926451 h 6858000"/>
              <a:gd name="connsiteX4711" fmla="*/ 532171 w 5794893"/>
              <a:gd name="connsiteY4711" fmla="*/ 5926451 h 6858000"/>
              <a:gd name="connsiteX4712" fmla="*/ 479323 w 5794893"/>
              <a:gd name="connsiteY4712" fmla="*/ 5946115 h 6858000"/>
              <a:gd name="connsiteX4713" fmla="*/ 518652 w 5794893"/>
              <a:gd name="connsiteY4713" fmla="*/ 6080079 h 6858000"/>
              <a:gd name="connsiteX4714" fmla="*/ 571500 w 5794893"/>
              <a:gd name="connsiteY4714" fmla="*/ 6060416 h 6858000"/>
              <a:gd name="connsiteX4715" fmla="*/ 532171 w 5794893"/>
              <a:gd name="connsiteY4715" fmla="*/ 5926451 h 6858000"/>
              <a:gd name="connsiteX4716" fmla="*/ 651388 w 5794893"/>
              <a:gd name="connsiteY4716" fmla="*/ 5926451 h 6858000"/>
              <a:gd name="connsiteX4717" fmla="*/ 599769 w 5794893"/>
              <a:gd name="connsiteY4717" fmla="*/ 5951031 h 6858000"/>
              <a:gd name="connsiteX4718" fmla="*/ 648930 w 5794893"/>
              <a:gd name="connsiteY4718" fmla="*/ 6080079 h 6858000"/>
              <a:gd name="connsiteX4719" fmla="*/ 699320 w 5794893"/>
              <a:gd name="connsiteY4719" fmla="*/ 6055499 h 6858000"/>
              <a:gd name="connsiteX4720" fmla="*/ 651388 w 5794893"/>
              <a:gd name="connsiteY4720" fmla="*/ 5926451 h 6858000"/>
              <a:gd name="connsiteX4721" fmla="*/ 769375 w 5794893"/>
              <a:gd name="connsiteY4721" fmla="*/ 5926451 h 6858000"/>
              <a:gd name="connsiteX4722" fmla="*/ 720214 w 5794893"/>
              <a:gd name="connsiteY4722" fmla="*/ 5957176 h 6858000"/>
              <a:gd name="connsiteX4723" fmla="*/ 777978 w 5794893"/>
              <a:gd name="connsiteY4723" fmla="*/ 6080079 h 6858000"/>
              <a:gd name="connsiteX4724" fmla="*/ 827139 w 5794893"/>
              <a:gd name="connsiteY4724" fmla="*/ 6050583 h 6858000"/>
              <a:gd name="connsiteX4725" fmla="*/ 769375 w 5794893"/>
              <a:gd name="connsiteY4725" fmla="*/ 5926451 h 6858000"/>
              <a:gd name="connsiteX4726" fmla="*/ 178209 w 5794893"/>
              <a:gd name="connsiteY4726" fmla="*/ 6115722 h 6858000"/>
              <a:gd name="connsiteX4727" fmla="*/ 119216 w 5794893"/>
              <a:gd name="connsiteY4727" fmla="*/ 6120638 h 6858000"/>
              <a:gd name="connsiteX4728" fmla="*/ 129048 w 5794893"/>
              <a:gd name="connsiteY4728" fmla="*/ 6269352 h 6858000"/>
              <a:gd name="connsiteX4729" fmla="*/ 188042 w 5794893"/>
              <a:gd name="connsiteY4729" fmla="*/ 6264434 h 6858000"/>
              <a:gd name="connsiteX4730" fmla="*/ 178209 w 5794893"/>
              <a:gd name="connsiteY4730" fmla="*/ 6115722 h 6858000"/>
              <a:gd name="connsiteX4731" fmla="*/ 296197 w 5794893"/>
              <a:gd name="connsiteY4731" fmla="*/ 6115722 h 6858000"/>
              <a:gd name="connsiteX4732" fmla="*/ 239661 w 5794893"/>
              <a:gd name="connsiteY4732" fmla="*/ 6125554 h 6858000"/>
              <a:gd name="connsiteX4733" fmla="*/ 259326 w 5794893"/>
              <a:gd name="connsiteY4733" fmla="*/ 6269352 h 6858000"/>
              <a:gd name="connsiteX4734" fmla="*/ 315861 w 5794893"/>
              <a:gd name="connsiteY4734" fmla="*/ 6259520 h 6858000"/>
              <a:gd name="connsiteX4735" fmla="*/ 296197 w 5794893"/>
              <a:gd name="connsiteY4735" fmla="*/ 6115722 h 6858000"/>
              <a:gd name="connsiteX4736" fmla="*/ 415413 w 5794893"/>
              <a:gd name="connsiteY4736" fmla="*/ 6115722 h 6858000"/>
              <a:gd name="connsiteX4737" fmla="*/ 360106 w 5794893"/>
              <a:gd name="connsiteY4737" fmla="*/ 6130470 h 6858000"/>
              <a:gd name="connsiteX4738" fmla="*/ 389603 w 5794893"/>
              <a:gd name="connsiteY4738" fmla="*/ 6269352 h 6858000"/>
              <a:gd name="connsiteX4739" fmla="*/ 444910 w 5794893"/>
              <a:gd name="connsiteY4739" fmla="*/ 6254602 h 6858000"/>
              <a:gd name="connsiteX4740" fmla="*/ 415413 w 5794893"/>
              <a:gd name="connsiteY4740" fmla="*/ 6115722 h 6858000"/>
              <a:gd name="connsiteX4741" fmla="*/ 651388 w 5794893"/>
              <a:gd name="connsiteY4741" fmla="*/ 6115722 h 6858000"/>
              <a:gd name="connsiteX4742" fmla="*/ 599769 w 5794893"/>
              <a:gd name="connsiteY4742" fmla="*/ 6140303 h 6858000"/>
              <a:gd name="connsiteX4743" fmla="*/ 648930 w 5794893"/>
              <a:gd name="connsiteY4743" fmla="*/ 6269352 h 6858000"/>
              <a:gd name="connsiteX4744" fmla="*/ 699320 w 5794893"/>
              <a:gd name="connsiteY4744" fmla="*/ 6244771 h 6858000"/>
              <a:gd name="connsiteX4745" fmla="*/ 651388 w 5794893"/>
              <a:gd name="connsiteY4745" fmla="*/ 6115722 h 6858000"/>
              <a:gd name="connsiteX4746" fmla="*/ 887362 w 5794893"/>
              <a:gd name="connsiteY4746" fmla="*/ 6115722 h 6858000"/>
              <a:gd name="connsiteX4747" fmla="*/ 840659 w 5794893"/>
              <a:gd name="connsiteY4747" fmla="*/ 6150135 h 6858000"/>
              <a:gd name="connsiteX4748" fmla="*/ 908255 w 5794893"/>
              <a:gd name="connsiteY4748" fmla="*/ 6269352 h 6858000"/>
              <a:gd name="connsiteX4749" fmla="*/ 954959 w 5794893"/>
              <a:gd name="connsiteY4749" fmla="*/ 6234938 h 6858000"/>
              <a:gd name="connsiteX4750" fmla="*/ 887362 w 5794893"/>
              <a:gd name="connsiteY4750" fmla="*/ 6115722 h 6858000"/>
              <a:gd name="connsiteX4751" fmla="*/ 1123337 w 5794893"/>
              <a:gd name="connsiteY4751" fmla="*/ 6115722 h 6858000"/>
              <a:gd name="connsiteX4752" fmla="*/ 1080320 w 5794893"/>
              <a:gd name="connsiteY4752" fmla="*/ 6159967 h 6858000"/>
              <a:gd name="connsiteX4753" fmla="*/ 1167582 w 5794893"/>
              <a:gd name="connsiteY4753" fmla="*/ 6269352 h 6858000"/>
              <a:gd name="connsiteX4754" fmla="*/ 1210598 w 5794893"/>
              <a:gd name="connsiteY4754" fmla="*/ 6225107 h 6858000"/>
              <a:gd name="connsiteX4755" fmla="*/ 1123337 w 5794893"/>
              <a:gd name="connsiteY4755" fmla="*/ 6115722 h 6858000"/>
              <a:gd name="connsiteX4756" fmla="*/ 1242552 w 5794893"/>
              <a:gd name="connsiteY4756" fmla="*/ 6115722 h 6858000"/>
              <a:gd name="connsiteX4757" fmla="*/ 1200765 w 5794893"/>
              <a:gd name="connsiteY4757" fmla="*/ 6164883 h 6858000"/>
              <a:gd name="connsiteX4758" fmla="*/ 1297860 w 5794893"/>
              <a:gd name="connsiteY4758" fmla="*/ 6269352 h 6858000"/>
              <a:gd name="connsiteX4759" fmla="*/ 1338417 w 5794893"/>
              <a:gd name="connsiteY4759" fmla="*/ 6220190 h 6858000"/>
              <a:gd name="connsiteX4760" fmla="*/ 1242552 w 5794893"/>
              <a:gd name="connsiteY4760" fmla="*/ 6115722 h 6858000"/>
              <a:gd name="connsiteX4761" fmla="*/ 1476069 w 5794893"/>
              <a:gd name="connsiteY4761" fmla="*/ 6115722 h 6858000"/>
              <a:gd name="connsiteX4762" fmla="*/ 1439198 w 5794893"/>
              <a:gd name="connsiteY4762" fmla="*/ 6174716 h 6858000"/>
              <a:gd name="connsiteX4763" fmla="*/ 1555957 w 5794893"/>
              <a:gd name="connsiteY4763" fmla="*/ 6269352 h 6858000"/>
              <a:gd name="connsiteX4764" fmla="*/ 1592828 w 5794893"/>
              <a:gd name="connsiteY4764" fmla="*/ 6210357 h 6858000"/>
              <a:gd name="connsiteX4765" fmla="*/ 1476069 w 5794893"/>
              <a:gd name="connsiteY4765" fmla="*/ 6115722 h 6858000"/>
              <a:gd name="connsiteX4766" fmla="*/ 1359311 w 5794893"/>
              <a:gd name="connsiteY4766" fmla="*/ 6116950 h 6858000"/>
              <a:gd name="connsiteX4767" fmla="*/ 1319982 w 5794893"/>
              <a:gd name="connsiteY4767" fmla="*/ 6171029 h 6858000"/>
              <a:gd name="connsiteX4768" fmla="*/ 1426908 w 5794893"/>
              <a:gd name="connsiteY4768" fmla="*/ 6269352 h 6858000"/>
              <a:gd name="connsiteX4769" fmla="*/ 1466237 w 5794893"/>
              <a:gd name="connsiteY4769" fmla="*/ 6215273 h 6858000"/>
              <a:gd name="connsiteX4770" fmla="*/ 1359311 w 5794893"/>
              <a:gd name="connsiteY4770" fmla="*/ 6116950 h 6858000"/>
              <a:gd name="connsiteX4771" fmla="*/ 1005350 w 5794893"/>
              <a:gd name="connsiteY4771" fmla="*/ 6116950 h 6858000"/>
              <a:gd name="connsiteX4772" fmla="*/ 959875 w 5794893"/>
              <a:gd name="connsiteY4772" fmla="*/ 6156279 h 6858000"/>
              <a:gd name="connsiteX4773" fmla="*/ 1037304 w 5794893"/>
              <a:gd name="connsiteY4773" fmla="*/ 6269352 h 6858000"/>
              <a:gd name="connsiteX4774" fmla="*/ 1082778 w 5794893"/>
              <a:gd name="connsiteY4774" fmla="*/ 6230021 h 6858000"/>
              <a:gd name="connsiteX4775" fmla="*/ 1005350 w 5794893"/>
              <a:gd name="connsiteY4775" fmla="*/ 6116950 h 6858000"/>
              <a:gd name="connsiteX4776" fmla="*/ 769375 w 5794893"/>
              <a:gd name="connsiteY4776" fmla="*/ 6116950 h 6858000"/>
              <a:gd name="connsiteX4777" fmla="*/ 720214 w 5794893"/>
              <a:gd name="connsiteY4777" fmla="*/ 6145219 h 6858000"/>
              <a:gd name="connsiteX4778" fmla="*/ 777978 w 5794893"/>
              <a:gd name="connsiteY4778" fmla="*/ 6269352 h 6858000"/>
              <a:gd name="connsiteX4779" fmla="*/ 827139 w 5794893"/>
              <a:gd name="connsiteY4779" fmla="*/ 6239854 h 6858000"/>
              <a:gd name="connsiteX4780" fmla="*/ 769375 w 5794893"/>
              <a:gd name="connsiteY4780" fmla="*/ 6116950 h 6858000"/>
              <a:gd name="connsiteX4781" fmla="*/ 532171 w 5794893"/>
              <a:gd name="connsiteY4781" fmla="*/ 6116950 h 6858000"/>
              <a:gd name="connsiteX4782" fmla="*/ 479323 w 5794893"/>
              <a:gd name="connsiteY4782" fmla="*/ 6136615 h 6858000"/>
              <a:gd name="connsiteX4783" fmla="*/ 518652 w 5794893"/>
              <a:gd name="connsiteY4783" fmla="*/ 6269352 h 6858000"/>
              <a:gd name="connsiteX4784" fmla="*/ 571500 w 5794893"/>
              <a:gd name="connsiteY4784" fmla="*/ 6250916 h 6858000"/>
              <a:gd name="connsiteX4785" fmla="*/ 532171 w 5794893"/>
              <a:gd name="connsiteY4785" fmla="*/ 6116950 h 6858000"/>
              <a:gd name="connsiteX4786" fmla="*/ 1241324 w 5794893"/>
              <a:gd name="connsiteY4786" fmla="*/ 6304993 h 6858000"/>
              <a:gd name="connsiteX4787" fmla="*/ 1200765 w 5794893"/>
              <a:gd name="connsiteY4787" fmla="*/ 6354154 h 6858000"/>
              <a:gd name="connsiteX4788" fmla="*/ 1297860 w 5794893"/>
              <a:gd name="connsiteY4788" fmla="*/ 6458622 h 6858000"/>
              <a:gd name="connsiteX4789" fmla="*/ 1338417 w 5794893"/>
              <a:gd name="connsiteY4789" fmla="*/ 6409460 h 6858000"/>
              <a:gd name="connsiteX4790" fmla="*/ 1241324 w 5794893"/>
              <a:gd name="connsiteY4790" fmla="*/ 6304993 h 6858000"/>
              <a:gd name="connsiteX4791" fmla="*/ 1477299 w 5794893"/>
              <a:gd name="connsiteY4791" fmla="*/ 6306223 h 6858000"/>
              <a:gd name="connsiteX4792" fmla="*/ 1440428 w 5794893"/>
              <a:gd name="connsiteY4792" fmla="*/ 6365215 h 6858000"/>
              <a:gd name="connsiteX4793" fmla="*/ 1557185 w 5794893"/>
              <a:gd name="connsiteY4793" fmla="*/ 6458622 h 6858000"/>
              <a:gd name="connsiteX4794" fmla="*/ 1594056 w 5794893"/>
              <a:gd name="connsiteY4794" fmla="*/ 6399628 h 6858000"/>
              <a:gd name="connsiteX4795" fmla="*/ 1477299 w 5794893"/>
              <a:gd name="connsiteY4795" fmla="*/ 6306223 h 6858000"/>
              <a:gd name="connsiteX4796" fmla="*/ 1359311 w 5794893"/>
              <a:gd name="connsiteY4796" fmla="*/ 6307451 h 6858000"/>
              <a:gd name="connsiteX4797" fmla="*/ 1319982 w 5794893"/>
              <a:gd name="connsiteY4797" fmla="*/ 6361529 h 6858000"/>
              <a:gd name="connsiteX4798" fmla="*/ 1426908 w 5794893"/>
              <a:gd name="connsiteY4798" fmla="*/ 6459851 h 6858000"/>
              <a:gd name="connsiteX4799" fmla="*/ 1466237 w 5794893"/>
              <a:gd name="connsiteY4799" fmla="*/ 6405774 h 6858000"/>
              <a:gd name="connsiteX4800" fmla="*/ 1359311 w 5794893"/>
              <a:gd name="connsiteY4800" fmla="*/ 6307451 h 6858000"/>
              <a:gd name="connsiteX4801" fmla="*/ 178209 w 5794893"/>
              <a:gd name="connsiteY4801" fmla="*/ 6306223 h 6858000"/>
              <a:gd name="connsiteX4802" fmla="*/ 119216 w 5794893"/>
              <a:gd name="connsiteY4802" fmla="*/ 6311138 h 6858000"/>
              <a:gd name="connsiteX4803" fmla="*/ 129048 w 5794893"/>
              <a:gd name="connsiteY4803" fmla="*/ 6459851 h 6858000"/>
              <a:gd name="connsiteX4804" fmla="*/ 188042 w 5794893"/>
              <a:gd name="connsiteY4804" fmla="*/ 6454935 h 6858000"/>
              <a:gd name="connsiteX4805" fmla="*/ 178209 w 5794893"/>
              <a:gd name="connsiteY4805" fmla="*/ 6306223 h 6858000"/>
              <a:gd name="connsiteX4806" fmla="*/ 296197 w 5794893"/>
              <a:gd name="connsiteY4806" fmla="*/ 6306223 h 6858000"/>
              <a:gd name="connsiteX4807" fmla="*/ 239661 w 5794893"/>
              <a:gd name="connsiteY4807" fmla="*/ 6316054 h 6858000"/>
              <a:gd name="connsiteX4808" fmla="*/ 259326 w 5794893"/>
              <a:gd name="connsiteY4808" fmla="*/ 6459851 h 6858000"/>
              <a:gd name="connsiteX4809" fmla="*/ 315861 w 5794893"/>
              <a:gd name="connsiteY4809" fmla="*/ 6450019 h 6858000"/>
              <a:gd name="connsiteX4810" fmla="*/ 296197 w 5794893"/>
              <a:gd name="connsiteY4810" fmla="*/ 6306223 h 6858000"/>
              <a:gd name="connsiteX4811" fmla="*/ 415413 w 5794893"/>
              <a:gd name="connsiteY4811" fmla="*/ 6306223 h 6858000"/>
              <a:gd name="connsiteX4812" fmla="*/ 360106 w 5794893"/>
              <a:gd name="connsiteY4812" fmla="*/ 6320971 h 6858000"/>
              <a:gd name="connsiteX4813" fmla="*/ 389603 w 5794893"/>
              <a:gd name="connsiteY4813" fmla="*/ 6459851 h 6858000"/>
              <a:gd name="connsiteX4814" fmla="*/ 444910 w 5794893"/>
              <a:gd name="connsiteY4814" fmla="*/ 6445103 h 6858000"/>
              <a:gd name="connsiteX4815" fmla="*/ 415413 w 5794893"/>
              <a:gd name="connsiteY4815" fmla="*/ 6306223 h 6858000"/>
              <a:gd name="connsiteX4816" fmla="*/ 532171 w 5794893"/>
              <a:gd name="connsiteY4816" fmla="*/ 6306223 h 6858000"/>
              <a:gd name="connsiteX4817" fmla="*/ 479323 w 5794893"/>
              <a:gd name="connsiteY4817" fmla="*/ 6325886 h 6858000"/>
              <a:gd name="connsiteX4818" fmla="*/ 518652 w 5794893"/>
              <a:gd name="connsiteY4818" fmla="*/ 6459851 h 6858000"/>
              <a:gd name="connsiteX4819" fmla="*/ 571500 w 5794893"/>
              <a:gd name="connsiteY4819" fmla="*/ 6440187 h 6858000"/>
              <a:gd name="connsiteX4820" fmla="*/ 532171 w 5794893"/>
              <a:gd name="connsiteY4820" fmla="*/ 6306223 h 6858000"/>
              <a:gd name="connsiteX4821" fmla="*/ 651388 w 5794893"/>
              <a:gd name="connsiteY4821" fmla="*/ 6306223 h 6858000"/>
              <a:gd name="connsiteX4822" fmla="*/ 599769 w 5794893"/>
              <a:gd name="connsiteY4822" fmla="*/ 6330803 h 6858000"/>
              <a:gd name="connsiteX4823" fmla="*/ 648930 w 5794893"/>
              <a:gd name="connsiteY4823" fmla="*/ 6459851 h 6858000"/>
              <a:gd name="connsiteX4824" fmla="*/ 699320 w 5794893"/>
              <a:gd name="connsiteY4824" fmla="*/ 6435271 h 6858000"/>
              <a:gd name="connsiteX4825" fmla="*/ 651388 w 5794893"/>
              <a:gd name="connsiteY4825" fmla="*/ 6306223 h 6858000"/>
              <a:gd name="connsiteX4826" fmla="*/ 769375 w 5794893"/>
              <a:gd name="connsiteY4826" fmla="*/ 6306223 h 6858000"/>
              <a:gd name="connsiteX4827" fmla="*/ 720214 w 5794893"/>
              <a:gd name="connsiteY4827" fmla="*/ 6335718 h 6858000"/>
              <a:gd name="connsiteX4828" fmla="*/ 777978 w 5794893"/>
              <a:gd name="connsiteY4828" fmla="*/ 6459851 h 6858000"/>
              <a:gd name="connsiteX4829" fmla="*/ 827139 w 5794893"/>
              <a:gd name="connsiteY4829" fmla="*/ 6430355 h 6858000"/>
              <a:gd name="connsiteX4830" fmla="*/ 769375 w 5794893"/>
              <a:gd name="connsiteY4830" fmla="*/ 6306223 h 6858000"/>
              <a:gd name="connsiteX4831" fmla="*/ 887362 w 5794893"/>
              <a:gd name="connsiteY4831" fmla="*/ 6306223 h 6858000"/>
              <a:gd name="connsiteX4832" fmla="*/ 840659 w 5794893"/>
              <a:gd name="connsiteY4832" fmla="*/ 6340634 h 6858000"/>
              <a:gd name="connsiteX4833" fmla="*/ 908255 w 5794893"/>
              <a:gd name="connsiteY4833" fmla="*/ 6459851 h 6858000"/>
              <a:gd name="connsiteX4834" fmla="*/ 954959 w 5794893"/>
              <a:gd name="connsiteY4834" fmla="*/ 6425438 h 6858000"/>
              <a:gd name="connsiteX4835" fmla="*/ 887362 w 5794893"/>
              <a:gd name="connsiteY4835" fmla="*/ 6306223 h 6858000"/>
              <a:gd name="connsiteX4836" fmla="*/ 1005350 w 5794893"/>
              <a:gd name="connsiteY4836" fmla="*/ 6307451 h 6858000"/>
              <a:gd name="connsiteX4837" fmla="*/ 959875 w 5794893"/>
              <a:gd name="connsiteY4837" fmla="*/ 6346780 h 6858000"/>
              <a:gd name="connsiteX4838" fmla="*/ 1037304 w 5794893"/>
              <a:gd name="connsiteY4838" fmla="*/ 6459851 h 6858000"/>
              <a:gd name="connsiteX4839" fmla="*/ 1082778 w 5794893"/>
              <a:gd name="connsiteY4839" fmla="*/ 6420522 h 6858000"/>
              <a:gd name="connsiteX4840" fmla="*/ 1005350 w 5794893"/>
              <a:gd name="connsiteY4840" fmla="*/ 6307451 h 6858000"/>
              <a:gd name="connsiteX4841" fmla="*/ 1123337 w 5794893"/>
              <a:gd name="connsiteY4841" fmla="*/ 6307451 h 6858000"/>
              <a:gd name="connsiteX4842" fmla="*/ 1080320 w 5794893"/>
              <a:gd name="connsiteY4842" fmla="*/ 6351696 h 6858000"/>
              <a:gd name="connsiteX4843" fmla="*/ 1167582 w 5794893"/>
              <a:gd name="connsiteY4843" fmla="*/ 6459851 h 6858000"/>
              <a:gd name="connsiteX4844" fmla="*/ 1210598 w 5794893"/>
              <a:gd name="connsiteY4844" fmla="*/ 6415606 h 6858000"/>
              <a:gd name="connsiteX4845" fmla="*/ 1123337 w 5794893"/>
              <a:gd name="connsiteY4845" fmla="*/ 6307451 h 6858000"/>
              <a:gd name="connsiteX4846" fmla="*/ 178209 w 5794893"/>
              <a:gd name="connsiteY4846" fmla="*/ 6500409 h 6858000"/>
              <a:gd name="connsiteX4847" fmla="*/ 119216 w 5794893"/>
              <a:gd name="connsiteY4847" fmla="*/ 6505326 h 6858000"/>
              <a:gd name="connsiteX4848" fmla="*/ 129048 w 5794893"/>
              <a:gd name="connsiteY4848" fmla="*/ 6654039 h 6858000"/>
              <a:gd name="connsiteX4849" fmla="*/ 188042 w 5794893"/>
              <a:gd name="connsiteY4849" fmla="*/ 6649123 h 6858000"/>
              <a:gd name="connsiteX4850" fmla="*/ 178209 w 5794893"/>
              <a:gd name="connsiteY4850" fmla="*/ 6500409 h 6858000"/>
              <a:gd name="connsiteX4851" fmla="*/ 296197 w 5794893"/>
              <a:gd name="connsiteY4851" fmla="*/ 6500409 h 6858000"/>
              <a:gd name="connsiteX4852" fmla="*/ 240891 w 5794893"/>
              <a:gd name="connsiteY4852" fmla="*/ 6510241 h 6858000"/>
              <a:gd name="connsiteX4853" fmla="*/ 259326 w 5794893"/>
              <a:gd name="connsiteY4853" fmla="*/ 6654039 h 6858000"/>
              <a:gd name="connsiteX4854" fmla="*/ 315861 w 5794893"/>
              <a:gd name="connsiteY4854" fmla="*/ 6644206 h 6858000"/>
              <a:gd name="connsiteX4855" fmla="*/ 296197 w 5794893"/>
              <a:gd name="connsiteY4855" fmla="*/ 6500409 h 6858000"/>
              <a:gd name="connsiteX4856" fmla="*/ 415413 w 5794893"/>
              <a:gd name="connsiteY4856" fmla="*/ 6500409 h 6858000"/>
              <a:gd name="connsiteX4857" fmla="*/ 360106 w 5794893"/>
              <a:gd name="connsiteY4857" fmla="*/ 6515159 h 6858000"/>
              <a:gd name="connsiteX4858" fmla="*/ 389603 w 5794893"/>
              <a:gd name="connsiteY4858" fmla="*/ 6654039 h 6858000"/>
              <a:gd name="connsiteX4859" fmla="*/ 444910 w 5794893"/>
              <a:gd name="connsiteY4859" fmla="*/ 6639290 h 6858000"/>
              <a:gd name="connsiteX4860" fmla="*/ 415413 w 5794893"/>
              <a:gd name="connsiteY4860" fmla="*/ 6500409 h 6858000"/>
              <a:gd name="connsiteX4861" fmla="*/ 532171 w 5794893"/>
              <a:gd name="connsiteY4861" fmla="*/ 6500409 h 6858000"/>
              <a:gd name="connsiteX4862" fmla="*/ 479323 w 5794893"/>
              <a:gd name="connsiteY4862" fmla="*/ 6520073 h 6858000"/>
              <a:gd name="connsiteX4863" fmla="*/ 518652 w 5794893"/>
              <a:gd name="connsiteY4863" fmla="*/ 6654039 h 6858000"/>
              <a:gd name="connsiteX4864" fmla="*/ 571500 w 5794893"/>
              <a:gd name="connsiteY4864" fmla="*/ 6634374 h 6858000"/>
              <a:gd name="connsiteX4865" fmla="*/ 532171 w 5794893"/>
              <a:gd name="connsiteY4865" fmla="*/ 6500409 h 6858000"/>
              <a:gd name="connsiteX4866" fmla="*/ 651388 w 5794893"/>
              <a:gd name="connsiteY4866" fmla="*/ 6500409 h 6858000"/>
              <a:gd name="connsiteX4867" fmla="*/ 599769 w 5794893"/>
              <a:gd name="connsiteY4867" fmla="*/ 6524990 h 6858000"/>
              <a:gd name="connsiteX4868" fmla="*/ 648930 w 5794893"/>
              <a:gd name="connsiteY4868" fmla="*/ 6654039 h 6858000"/>
              <a:gd name="connsiteX4869" fmla="*/ 699320 w 5794893"/>
              <a:gd name="connsiteY4869" fmla="*/ 6629458 h 6858000"/>
              <a:gd name="connsiteX4870" fmla="*/ 651388 w 5794893"/>
              <a:gd name="connsiteY4870" fmla="*/ 6500409 h 6858000"/>
              <a:gd name="connsiteX4871" fmla="*/ 769375 w 5794893"/>
              <a:gd name="connsiteY4871" fmla="*/ 6500409 h 6858000"/>
              <a:gd name="connsiteX4872" fmla="*/ 720214 w 5794893"/>
              <a:gd name="connsiteY4872" fmla="*/ 6531135 h 6858000"/>
              <a:gd name="connsiteX4873" fmla="*/ 777978 w 5794893"/>
              <a:gd name="connsiteY4873" fmla="*/ 6654039 h 6858000"/>
              <a:gd name="connsiteX4874" fmla="*/ 827139 w 5794893"/>
              <a:gd name="connsiteY4874" fmla="*/ 6624542 h 6858000"/>
              <a:gd name="connsiteX4875" fmla="*/ 769375 w 5794893"/>
              <a:gd name="connsiteY4875" fmla="*/ 6500409 h 6858000"/>
              <a:gd name="connsiteX4876" fmla="*/ 1005350 w 5794893"/>
              <a:gd name="connsiteY4876" fmla="*/ 6500409 h 6858000"/>
              <a:gd name="connsiteX4877" fmla="*/ 959875 w 5794893"/>
              <a:gd name="connsiteY4877" fmla="*/ 6539739 h 6858000"/>
              <a:gd name="connsiteX4878" fmla="*/ 1037304 w 5794893"/>
              <a:gd name="connsiteY4878" fmla="*/ 6652810 h 6858000"/>
              <a:gd name="connsiteX4879" fmla="*/ 1082778 w 5794893"/>
              <a:gd name="connsiteY4879" fmla="*/ 6613481 h 6858000"/>
              <a:gd name="connsiteX4880" fmla="*/ 1005350 w 5794893"/>
              <a:gd name="connsiteY4880" fmla="*/ 6500409 h 6858000"/>
              <a:gd name="connsiteX4881" fmla="*/ 1242552 w 5794893"/>
              <a:gd name="connsiteY4881" fmla="*/ 6500409 h 6858000"/>
              <a:gd name="connsiteX4882" fmla="*/ 1200765 w 5794893"/>
              <a:gd name="connsiteY4882" fmla="*/ 6549570 h 6858000"/>
              <a:gd name="connsiteX4883" fmla="*/ 1297860 w 5794893"/>
              <a:gd name="connsiteY4883" fmla="*/ 6654039 h 6858000"/>
              <a:gd name="connsiteX4884" fmla="*/ 1338417 w 5794893"/>
              <a:gd name="connsiteY4884" fmla="*/ 6604877 h 6858000"/>
              <a:gd name="connsiteX4885" fmla="*/ 1242552 w 5794893"/>
              <a:gd name="connsiteY4885" fmla="*/ 6500409 h 6858000"/>
              <a:gd name="connsiteX4886" fmla="*/ 1359311 w 5794893"/>
              <a:gd name="connsiteY4886" fmla="*/ 6500409 h 6858000"/>
              <a:gd name="connsiteX4887" fmla="*/ 1319982 w 5794893"/>
              <a:gd name="connsiteY4887" fmla="*/ 6555716 h 6858000"/>
              <a:gd name="connsiteX4888" fmla="*/ 1426908 w 5794893"/>
              <a:gd name="connsiteY4888" fmla="*/ 6652810 h 6858000"/>
              <a:gd name="connsiteX4889" fmla="*/ 1466237 w 5794893"/>
              <a:gd name="connsiteY4889" fmla="*/ 6598732 h 6858000"/>
              <a:gd name="connsiteX4890" fmla="*/ 1359311 w 5794893"/>
              <a:gd name="connsiteY4890" fmla="*/ 6500409 h 6858000"/>
              <a:gd name="connsiteX4891" fmla="*/ 1477299 w 5794893"/>
              <a:gd name="connsiteY4891" fmla="*/ 6500409 h 6858000"/>
              <a:gd name="connsiteX4892" fmla="*/ 1440428 w 5794893"/>
              <a:gd name="connsiteY4892" fmla="*/ 6559402 h 6858000"/>
              <a:gd name="connsiteX4893" fmla="*/ 1557185 w 5794893"/>
              <a:gd name="connsiteY4893" fmla="*/ 6652810 h 6858000"/>
              <a:gd name="connsiteX4894" fmla="*/ 1594056 w 5794893"/>
              <a:gd name="connsiteY4894" fmla="*/ 6593815 h 6858000"/>
              <a:gd name="connsiteX4895" fmla="*/ 1477299 w 5794893"/>
              <a:gd name="connsiteY4895" fmla="*/ 6500409 h 6858000"/>
              <a:gd name="connsiteX4896" fmla="*/ 1123337 w 5794893"/>
              <a:gd name="connsiteY4896" fmla="*/ 6501639 h 6858000"/>
              <a:gd name="connsiteX4897" fmla="*/ 1080320 w 5794893"/>
              <a:gd name="connsiteY4897" fmla="*/ 6545884 h 6858000"/>
              <a:gd name="connsiteX4898" fmla="*/ 1167582 w 5794893"/>
              <a:gd name="connsiteY4898" fmla="*/ 6654039 h 6858000"/>
              <a:gd name="connsiteX4899" fmla="*/ 1210598 w 5794893"/>
              <a:gd name="connsiteY4899" fmla="*/ 6609793 h 6858000"/>
              <a:gd name="connsiteX4900" fmla="*/ 1123337 w 5794893"/>
              <a:gd name="connsiteY4900" fmla="*/ 6501639 h 6858000"/>
              <a:gd name="connsiteX4901" fmla="*/ 887362 w 5794893"/>
              <a:gd name="connsiteY4901" fmla="*/ 6501639 h 6858000"/>
              <a:gd name="connsiteX4902" fmla="*/ 840659 w 5794893"/>
              <a:gd name="connsiteY4902" fmla="*/ 6536051 h 6858000"/>
              <a:gd name="connsiteX4903" fmla="*/ 908255 w 5794893"/>
              <a:gd name="connsiteY4903" fmla="*/ 6654039 h 6858000"/>
              <a:gd name="connsiteX4904" fmla="*/ 954959 w 5794893"/>
              <a:gd name="connsiteY4904" fmla="*/ 6620854 h 6858000"/>
              <a:gd name="connsiteX4905" fmla="*/ 887362 w 5794893"/>
              <a:gd name="connsiteY4905" fmla="*/ 6501639 h 6858000"/>
              <a:gd name="connsiteX4906" fmla="*/ 178209 w 5794893"/>
              <a:gd name="connsiteY4906" fmla="*/ 6694596 h 6858000"/>
              <a:gd name="connsiteX4907" fmla="*/ 119216 w 5794893"/>
              <a:gd name="connsiteY4907" fmla="*/ 6699514 h 6858000"/>
              <a:gd name="connsiteX4908" fmla="*/ 129048 w 5794893"/>
              <a:gd name="connsiteY4908" fmla="*/ 6848226 h 6858000"/>
              <a:gd name="connsiteX4909" fmla="*/ 188042 w 5794893"/>
              <a:gd name="connsiteY4909" fmla="*/ 6843310 h 6858000"/>
              <a:gd name="connsiteX4910" fmla="*/ 178209 w 5794893"/>
              <a:gd name="connsiteY4910" fmla="*/ 6694596 h 6858000"/>
              <a:gd name="connsiteX4911" fmla="*/ 296197 w 5794893"/>
              <a:gd name="connsiteY4911" fmla="*/ 6694596 h 6858000"/>
              <a:gd name="connsiteX4912" fmla="*/ 239661 w 5794893"/>
              <a:gd name="connsiteY4912" fmla="*/ 6704428 h 6858000"/>
              <a:gd name="connsiteX4913" fmla="*/ 259326 w 5794893"/>
              <a:gd name="connsiteY4913" fmla="*/ 6848226 h 6858000"/>
              <a:gd name="connsiteX4914" fmla="*/ 315861 w 5794893"/>
              <a:gd name="connsiteY4914" fmla="*/ 6838394 h 6858000"/>
              <a:gd name="connsiteX4915" fmla="*/ 296197 w 5794893"/>
              <a:gd name="connsiteY4915" fmla="*/ 6694596 h 6858000"/>
              <a:gd name="connsiteX4916" fmla="*/ 415413 w 5794893"/>
              <a:gd name="connsiteY4916" fmla="*/ 6694596 h 6858000"/>
              <a:gd name="connsiteX4917" fmla="*/ 360106 w 5794893"/>
              <a:gd name="connsiteY4917" fmla="*/ 6709345 h 6858000"/>
              <a:gd name="connsiteX4918" fmla="*/ 389603 w 5794893"/>
              <a:gd name="connsiteY4918" fmla="*/ 6848226 h 6858000"/>
              <a:gd name="connsiteX4919" fmla="*/ 444910 w 5794893"/>
              <a:gd name="connsiteY4919" fmla="*/ 6833478 h 6858000"/>
              <a:gd name="connsiteX4920" fmla="*/ 415413 w 5794893"/>
              <a:gd name="connsiteY4920" fmla="*/ 6694596 h 6858000"/>
              <a:gd name="connsiteX4921" fmla="*/ 651388 w 5794893"/>
              <a:gd name="connsiteY4921" fmla="*/ 6694596 h 6858000"/>
              <a:gd name="connsiteX4922" fmla="*/ 599769 w 5794893"/>
              <a:gd name="connsiteY4922" fmla="*/ 6719177 h 6858000"/>
              <a:gd name="connsiteX4923" fmla="*/ 648930 w 5794893"/>
              <a:gd name="connsiteY4923" fmla="*/ 6848226 h 6858000"/>
              <a:gd name="connsiteX4924" fmla="*/ 699320 w 5794893"/>
              <a:gd name="connsiteY4924" fmla="*/ 6823645 h 6858000"/>
              <a:gd name="connsiteX4925" fmla="*/ 651388 w 5794893"/>
              <a:gd name="connsiteY4925" fmla="*/ 6694596 h 6858000"/>
              <a:gd name="connsiteX4926" fmla="*/ 887362 w 5794893"/>
              <a:gd name="connsiteY4926" fmla="*/ 6694596 h 6858000"/>
              <a:gd name="connsiteX4927" fmla="*/ 840659 w 5794893"/>
              <a:gd name="connsiteY4927" fmla="*/ 6729009 h 6858000"/>
              <a:gd name="connsiteX4928" fmla="*/ 908255 w 5794893"/>
              <a:gd name="connsiteY4928" fmla="*/ 6848226 h 6858000"/>
              <a:gd name="connsiteX4929" fmla="*/ 954959 w 5794893"/>
              <a:gd name="connsiteY4929" fmla="*/ 6813813 h 6858000"/>
              <a:gd name="connsiteX4930" fmla="*/ 887362 w 5794893"/>
              <a:gd name="connsiteY4930" fmla="*/ 6694596 h 6858000"/>
              <a:gd name="connsiteX4931" fmla="*/ 1005350 w 5794893"/>
              <a:gd name="connsiteY4931" fmla="*/ 6694596 h 6858000"/>
              <a:gd name="connsiteX4932" fmla="*/ 959875 w 5794893"/>
              <a:gd name="connsiteY4932" fmla="*/ 6735155 h 6858000"/>
              <a:gd name="connsiteX4933" fmla="*/ 1037304 w 5794893"/>
              <a:gd name="connsiteY4933" fmla="*/ 6848226 h 6858000"/>
              <a:gd name="connsiteX4934" fmla="*/ 1082778 w 5794893"/>
              <a:gd name="connsiteY4934" fmla="*/ 6808897 h 6858000"/>
              <a:gd name="connsiteX4935" fmla="*/ 1005350 w 5794893"/>
              <a:gd name="connsiteY4935" fmla="*/ 6694596 h 6858000"/>
              <a:gd name="connsiteX4936" fmla="*/ 1123337 w 5794893"/>
              <a:gd name="connsiteY4936" fmla="*/ 6695826 h 6858000"/>
              <a:gd name="connsiteX4937" fmla="*/ 1080320 w 5794893"/>
              <a:gd name="connsiteY4937" fmla="*/ 6740071 h 6858000"/>
              <a:gd name="connsiteX4938" fmla="*/ 1167582 w 5794893"/>
              <a:gd name="connsiteY4938" fmla="*/ 6848226 h 6858000"/>
              <a:gd name="connsiteX4939" fmla="*/ 1210598 w 5794893"/>
              <a:gd name="connsiteY4939" fmla="*/ 6803981 h 6858000"/>
              <a:gd name="connsiteX4940" fmla="*/ 1123337 w 5794893"/>
              <a:gd name="connsiteY4940" fmla="*/ 6695826 h 6858000"/>
              <a:gd name="connsiteX4941" fmla="*/ 1240094 w 5794893"/>
              <a:gd name="connsiteY4941" fmla="*/ 6695826 h 6858000"/>
              <a:gd name="connsiteX4942" fmla="*/ 1199537 w 5794893"/>
              <a:gd name="connsiteY4942" fmla="*/ 6744987 h 6858000"/>
              <a:gd name="connsiteX4943" fmla="*/ 1296630 w 5794893"/>
              <a:gd name="connsiteY4943" fmla="*/ 6848226 h 6858000"/>
              <a:gd name="connsiteX4944" fmla="*/ 1338417 w 5794893"/>
              <a:gd name="connsiteY4944" fmla="*/ 6799065 h 6858000"/>
              <a:gd name="connsiteX4945" fmla="*/ 1240094 w 5794893"/>
              <a:gd name="connsiteY4945" fmla="*/ 6695826 h 6858000"/>
              <a:gd name="connsiteX4946" fmla="*/ 1359311 w 5794893"/>
              <a:gd name="connsiteY4946" fmla="*/ 6695826 h 6858000"/>
              <a:gd name="connsiteX4947" fmla="*/ 1319982 w 5794893"/>
              <a:gd name="connsiteY4947" fmla="*/ 6749903 h 6858000"/>
              <a:gd name="connsiteX4948" fmla="*/ 1426908 w 5794893"/>
              <a:gd name="connsiteY4948" fmla="*/ 6848226 h 6858000"/>
              <a:gd name="connsiteX4949" fmla="*/ 1466237 w 5794893"/>
              <a:gd name="connsiteY4949" fmla="*/ 6794149 h 6858000"/>
              <a:gd name="connsiteX4950" fmla="*/ 1359311 w 5794893"/>
              <a:gd name="connsiteY4950" fmla="*/ 6695826 h 6858000"/>
              <a:gd name="connsiteX4951" fmla="*/ 769375 w 5794893"/>
              <a:gd name="connsiteY4951" fmla="*/ 6695826 h 6858000"/>
              <a:gd name="connsiteX4952" fmla="*/ 720214 w 5794893"/>
              <a:gd name="connsiteY4952" fmla="*/ 6726552 h 6858000"/>
              <a:gd name="connsiteX4953" fmla="*/ 777978 w 5794893"/>
              <a:gd name="connsiteY4953" fmla="*/ 6849456 h 6858000"/>
              <a:gd name="connsiteX4954" fmla="*/ 827139 w 5794893"/>
              <a:gd name="connsiteY4954" fmla="*/ 6819958 h 6858000"/>
              <a:gd name="connsiteX4955" fmla="*/ 769375 w 5794893"/>
              <a:gd name="connsiteY4955" fmla="*/ 6695826 h 6858000"/>
              <a:gd name="connsiteX4956" fmla="*/ 532171 w 5794893"/>
              <a:gd name="connsiteY4956" fmla="*/ 6695826 h 6858000"/>
              <a:gd name="connsiteX4957" fmla="*/ 479323 w 5794893"/>
              <a:gd name="connsiteY4957" fmla="*/ 6715490 h 6858000"/>
              <a:gd name="connsiteX4958" fmla="*/ 518652 w 5794893"/>
              <a:gd name="connsiteY4958" fmla="*/ 6848226 h 6858000"/>
              <a:gd name="connsiteX4959" fmla="*/ 571500 w 5794893"/>
              <a:gd name="connsiteY4959" fmla="*/ 6829790 h 6858000"/>
              <a:gd name="connsiteX4960" fmla="*/ 532171 w 5794893"/>
              <a:gd name="connsiteY4960" fmla="*/ 669582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Lst>
            <a:rect l="l" t="t" r="r" b="b"/>
            <a:pathLst>
              <a:path w="5794893" h="6858000">
                <a:moveTo>
                  <a:pt x="60222" y="0"/>
                </a:moveTo>
                <a:lnTo>
                  <a:pt x="123428" y="0"/>
                </a:lnTo>
                <a:lnTo>
                  <a:pt x="129048" y="97144"/>
                </a:lnTo>
                <a:lnTo>
                  <a:pt x="188042" y="92228"/>
                </a:lnTo>
                <a:lnTo>
                  <a:pt x="181944" y="0"/>
                </a:lnTo>
                <a:lnTo>
                  <a:pt x="246440" y="0"/>
                </a:lnTo>
                <a:lnTo>
                  <a:pt x="260555" y="97144"/>
                </a:lnTo>
                <a:lnTo>
                  <a:pt x="317091" y="87311"/>
                </a:lnTo>
                <a:lnTo>
                  <a:pt x="305151" y="0"/>
                </a:lnTo>
                <a:lnTo>
                  <a:pt x="368602" y="0"/>
                </a:lnTo>
                <a:lnTo>
                  <a:pt x="388375" y="97144"/>
                </a:lnTo>
                <a:lnTo>
                  <a:pt x="443681" y="82395"/>
                </a:lnTo>
                <a:lnTo>
                  <a:pt x="426181" y="0"/>
                </a:lnTo>
                <a:lnTo>
                  <a:pt x="490133" y="0"/>
                </a:lnTo>
                <a:lnTo>
                  <a:pt x="518652" y="97144"/>
                </a:lnTo>
                <a:lnTo>
                  <a:pt x="571500" y="77479"/>
                </a:lnTo>
                <a:lnTo>
                  <a:pt x="548754" y="0"/>
                </a:lnTo>
                <a:lnTo>
                  <a:pt x="611923" y="0"/>
                </a:lnTo>
                <a:lnTo>
                  <a:pt x="648930" y="97144"/>
                </a:lnTo>
                <a:lnTo>
                  <a:pt x="699320" y="72563"/>
                </a:lnTo>
                <a:lnTo>
                  <a:pt x="672368" y="0"/>
                </a:lnTo>
                <a:lnTo>
                  <a:pt x="733040" y="0"/>
                </a:lnTo>
                <a:lnTo>
                  <a:pt x="779207" y="97144"/>
                </a:lnTo>
                <a:lnTo>
                  <a:pt x="828369" y="67647"/>
                </a:lnTo>
                <a:lnTo>
                  <a:pt x="796220" y="0"/>
                </a:lnTo>
                <a:lnTo>
                  <a:pt x="852601" y="0"/>
                </a:lnTo>
                <a:lnTo>
                  <a:pt x="908255" y="97144"/>
                </a:lnTo>
                <a:lnTo>
                  <a:pt x="954959" y="62731"/>
                </a:lnTo>
                <a:lnTo>
                  <a:pt x="919390" y="0"/>
                </a:lnTo>
                <a:lnTo>
                  <a:pt x="971623" y="0"/>
                </a:lnTo>
                <a:lnTo>
                  <a:pt x="1037304" y="95915"/>
                </a:lnTo>
                <a:lnTo>
                  <a:pt x="1082778" y="56586"/>
                </a:lnTo>
                <a:lnTo>
                  <a:pt x="1044029" y="0"/>
                </a:lnTo>
                <a:lnTo>
                  <a:pt x="1089204" y="0"/>
                </a:lnTo>
                <a:lnTo>
                  <a:pt x="1167582" y="97144"/>
                </a:lnTo>
                <a:lnTo>
                  <a:pt x="1210598" y="51670"/>
                </a:lnTo>
                <a:lnTo>
                  <a:pt x="1168910" y="0"/>
                </a:lnTo>
                <a:lnTo>
                  <a:pt x="1206350" y="0"/>
                </a:lnTo>
                <a:lnTo>
                  <a:pt x="1297860" y="98373"/>
                </a:lnTo>
                <a:lnTo>
                  <a:pt x="1338417" y="49212"/>
                </a:lnTo>
                <a:lnTo>
                  <a:pt x="1292680" y="0"/>
                </a:lnTo>
                <a:lnTo>
                  <a:pt x="1321248" y="0"/>
                </a:lnTo>
                <a:lnTo>
                  <a:pt x="1426908" y="98373"/>
                </a:lnTo>
                <a:lnTo>
                  <a:pt x="1466237" y="43066"/>
                </a:lnTo>
                <a:lnTo>
                  <a:pt x="1419403" y="0"/>
                </a:lnTo>
                <a:lnTo>
                  <a:pt x="1441534" y="0"/>
                </a:lnTo>
                <a:lnTo>
                  <a:pt x="1439198" y="3737"/>
                </a:lnTo>
                <a:lnTo>
                  <a:pt x="1555957" y="97144"/>
                </a:lnTo>
                <a:lnTo>
                  <a:pt x="1592828" y="38150"/>
                </a:lnTo>
                <a:lnTo>
                  <a:pt x="1545140" y="0"/>
                </a:lnTo>
                <a:lnTo>
                  <a:pt x="1563241" y="0"/>
                </a:lnTo>
                <a:lnTo>
                  <a:pt x="1558415" y="8653"/>
                </a:lnTo>
                <a:lnTo>
                  <a:pt x="1685005" y="97144"/>
                </a:lnTo>
                <a:lnTo>
                  <a:pt x="1718189" y="36922"/>
                </a:lnTo>
                <a:lnTo>
                  <a:pt x="1815282" y="97144"/>
                </a:lnTo>
                <a:lnTo>
                  <a:pt x="1842321" y="41838"/>
                </a:lnTo>
                <a:lnTo>
                  <a:pt x="1945560" y="97144"/>
                </a:lnTo>
                <a:lnTo>
                  <a:pt x="1967682" y="45524"/>
                </a:lnTo>
                <a:lnTo>
                  <a:pt x="2075837" y="97144"/>
                </a:lnTo>
                <a:lnTo>
                  <a:pt x="2093044" y="50440"/>
                </a:lnTo>
                <a:lnTo>
                  <a:pt x="2204887" y="97144"/>
                </a:lnTo>
                <a:lnTo>
                  <a:pt x="2218405" y="54128"/>
                </a:lnTo>
                <a:lnTo>
                  <a:pt x="2336392" y="98373"/>
                </a:lnTo>
                <a:lnTo>
                  <a:pt x="2347454" y="60273"/>
                </a:lnTo>
                <a:lnTo>
                  <a:pt x="2466670" y="98373"/>
                </a:lnTo>
                <a:lnTo>
                  <a:pt x="2475274" y="63960"/>
                </a:lnTo>
                <a:lnTo>
                  <a:pt x="2595719" y="98373"/>
                </a:lnTo>
                <a:lnTo>
                  <a:pt x="2601864" y="68877"/>
                </a:lnTo>
                <a:lnTo>
                  <a:pt x="2724767" y="98373"/>
                </a:lnTo>
                <a:lnTo>
                  <a:pt x="2729683" y="72563"/>
                </a:lnTo>
                <a:lnTo>
                  <a:pt x="2855045" y="98373"/>
                </a:lnTo>
                <a:lnTo>
                  <a:pt x="2858732" y="76251"/>
                </a:lnTo>
                <a:lnTo>
                  <a:pt x="2985322" y="98373"/>
                </a:lnTo>
                <a:lnTo>
                  <a:pt x="2987780" y="79937"/>
                </a:lnTo>
                <a:lnTo>
                  <a:pt x="3114371" y="98373"/>
                </a:lnTo>
                <a:lnTo>
                  <a:pt x="3115600" y="82395"/>
                </a:lnTo>
                <a:lnTo>
                  <a:pt x="3243419" y="98373"/>
                </a:lnTo>
                <a:lnTo>
                  <a:pt x="3244649" y="86083"/>
                </a:lnTo>
                <a:lnTo>
                  <a:pt x="3373697" y="98373"/>
                </a:lnTo>
                <a:lnTo>
                  <a:pt x="3374927" y="88541"/>
                </a:lnTo>
                <a:lnTo>
                  <a:pt x="3503974" y="98373"/>
                </a:lnTo>
                <a:lnTo>
                  <a:pt x="3503974" y="90999"/>
                </a:lnTo>
                <a:lnTo>
                  <a:pt x="3633024" y="98373"/>
                </a:lnTo>
                <a:lnTo>
                  <a:pt x="3633024" y="93457"/>
                </a:lnTo>
                <a:lnTo>
                  <a:pt x="3641626" y="93457"/>
                </a:lnTo>
                <a:lnTo>
                  <a:pt x="3721514" y="95915"/>
                </a:lnTo>
                <a:lnTo>
                  <a:pt x="3721514" y="97144"/>
                </a:lnTo>
                <a:lnTo>
                  <a:pt x="5715007" y="142619"/>
                </a:lnTo>
                <a:lnTo>
                  <a:pt x="3721514" y="137702"/>
                </a:lnTo>
                <a:lnTo>
                  <a:pt x="3721514" y="140160"/>
                </a:lnTo>
                <a:lnTo>
                  <a:pt x="3603527" y="137702"/>
                </a:lnTo>
                <a:lnTo>
                  <a:pt x="3603527" y="141389"/>
                </a:lnTo>
                <a:lnTo>
                  <a:pt x="3485540" y="137702"/>
                </a:lnTo>
                <a:lnTo>
                  <a:pt x="3485540" y="143847"/>
                </a:lnTo>
                <a:lnTo>
                  <a:pt x="3367552" y="137702"/>
                </a:lnTo>
                <a:lnTo>
                  <a:pt x="3367552" y="146305"/>
                </a:lnTo>
                <a:lnTo>
                  <a:pt x="3249565" y="137702"/>
                </a:lnTo>
                <a:lnTo>
                  <a:pt x="3249565" y="148763"/>
                </a:lnTo>
                <a:lnTo>
                  <a:pt x="3131578" y="137702"/>
                </a:lnTo>
                <a:lnTo>
                  <a:pt x="3129120" y="152451"/>
                </a:lnTo>
                <a:lnTo>
                  <a:pt x="3012361" y="137702"/>
                </a:lnTo>
                <a:lnTo>
                  <a:pt x="3011133" y="154909"/>
                </a:lnTo>
                <a:lnTo>
                  <a:pt x="2894374" y="137702"/>
                </a:lnTo>
                <a:lnTo>
                  <a:pt x="2891916" y="158595"/>
                </a:lnTo>
                <a:lnTo>
                  <a:pt x="2776386" y="137702"/>
                </a:lnTo>
                <a:lnTo>
                  <a:pt x="2772700" y="162283"/>
                </a:lnTo>
                <a:lnTo>
                  <a:pt x="2658399" y="137702"/>
                </a:lnTo>
                <a:lnTo>
                  <a:pt x="2653483" y="164741"/>
                </a:lnTo>
                <a:lnTo>
                  <a:pt x="2540412" y="137702"/>
                </a:lnTo>
                <a:lnTo>
                  <a:pt x="2534268" y="169657"/>
                </a:lnTo>
                <a:lnTo>
                  <a:pt x="2422425" y="137702"/>
                </a:lnTo>
                <a:lnTo>
                  <a:pt x="2415051" y="173344"/>
                </a:lnTo>
                <a:lnTo>
                  <a:pt x="2304438" y="137702"/>
                </a:lnTo>
                <a:lnTo>
                  <a:pt x="2294605" y="177031"/>
                </a:lnTo>
                <a:lnTo>
                  <a:pt x="2186450" y="137702"/>
                </a:lnTo>
                <a:lnTo>
                  <a:pt x="2174160" y="181948"/>
                </a:lnTo>
                <a:lnTo>
                  <a:pt x="2068463" y="137702"/>
                </a:lnTo>
                <a:lnTo>
                  <a:pt x="2052486" y="186864"/>
                </a:lnTo>
                <a:lnTo>
                  <a:pt x="1950476" y="137702"/>
                </a:lnTo>
                <a:lnTo>
                  <a:pt x="1930811" y="190550"/>
                </a:lnTo>
                <a:lnTo>
                  <a:pt x="1832489" y="137702"/>
                </a:lnTo>
                <a:lnTo>
                  <a:pt x="1807908" y="195466"/>
                </a:lnTo>
                <a:lnTo>
                  <a:pt x="1714501" y="137702"/>
                </a:lnTo>
                <a:lnTo>
                  <a:pt x="1685005" y="200382"/>
                </a:lnTo>
                <a:lnTo>
                  <a:pt x="1596514" y="137702"/>
                </a:lnTo>
                <a:lnTo>
                  <a:pt x="1560873" y="201612"/>
                </a:lnTo>
                <a:lnTo>
                  <a:pt x="1685005" y="291331"/>
                </a:lnTo>
                <a:lnTo>
                  <a:pt x="1718189" y="231109"/>
                </a:lnTo>
                <a:lnTo>
                  <a:pt x="1815282" y="291331"/>
                </a:lnTo>
                <a:lnTo>
                  <a:pt x="1842321" y="236025"/>
                </a:lnTo>
                <a:lnTo>
                  <a:pt x="1945560" y="291331"/>
                </a:lnTo>
                <a:lnTo>
                  <a:pt x="1967682" y="239712"/>
                </a:lnTo>
                <a:lnTo>
                  <a:pt x="2075837" y="291331"/>
                </a:lnTo>
                <a:lnTo>
                  <a:pt x="2093044" y="244628"/>
                </a:lnTo>
                <a:lnTo>
                  <a:pt x="2204887" y="291331"/>
                </a:lnTo>
                <a:lnTo>
                  <a:pt x="2218405" y="248315"/>
                </a:lnTo>
                <a:lnTo>
                  <a:pt x="2333934" y="291331"/>
                </a:lnTo>
                <a:lnTo>
                  <a:pt x="2344996" y="253232"/>
                </a:lnTo>
                <a:lnTo>
                  <a:pt x="2464212" y="291331"/>
                </a:lnTo>
                <a:lnTo>
                  <a:pt x="2472816" y="256918"/>
                </a:lnTo>
                <a:lnTo>
                  <a:pt x="2593261" y="291331"/>
                </a:lnTo>
                <a:lnTo>
                  <a:pt x="2599406" y="261834"/>
                </a:lnTo>
                <a:lnTo>
                  <a:pt x="2722309" y="291331"/>
                </a:lnTo>
                <a:lnTo>
                  <a:pt x="2727225" y="265522"/>
                </a:lnTo>
                <a:lnTo>
                  <a:pt x="2852587" y="291331"/>
                </a:lnTo>
                <a:lnTo>
                  <a:pt x="2856274" y="269208"/>
                </a:lnTo>
                <a:lnTo>
                  <a:pt x="2982864" y="291331"/>
                </a:lnTo>
                <a:lnTo>
                  <a:pt x="2985322" y="272896"/>
                </a:lnTo>
                <a:lnTo>
                  <a:pt x="3111913" y="291331"/>
                </a:lnTo>
                <a:lnTo>
                  <a:pt x="3114371" y="275354"/>
                </a:lnTo>
                <a:lnTo>
                  <a:pt x="3240961" y="291331"/>
                </a:lnTo>
                <a:lnTo>
                  <a:pt x="3242191" y="279041"/>
                </a:lnTo>
                <a:lnTo>
                  <a:pt x="3371239" y="291331"/>
                </a:lnTo>
                <a:lnTo>
                  <a:pt x="3372468" y="281499"/>
                </a:lnTo>
                <a:lnTo>
                  <a:pt x="3501516" y="291331"/>
                </a:lnTo>
                <a:lnTo>
                  <a:pt x="3501516" y="283957"/>
                </a:lnTo>
                <a:lnTo>
                  <a:pt x="3630565" y="291331"/>
                </a:lnTo>
                <a:lnTo>
                  <a:pt x="3630565" y="286415"/>
                </a:lnTo>
                <a:lnTo>
                  <a:pt x="3639168" y="286415"/>
                </a:lnTo>
                <a:lnTo>
                  <a:pt x="3719056" y="288873"/>
                </a:lnTo>
                <a:lnTo>
                  <a:pt x="3719056" y="290103"/>
                </a:lnTo>
                <a:lnTo>
                  <a:pt x="5727297" y="331890"/>
                </a:lnTo>
                <a:lnTo>
                  <a:pt x="3719056" y="331890"/>
                </a:lnTo>
                <a:lnTo>
                  <a:pt x="3719056" y="334348"/>
                </a:lnTo>
                <a:lnTo>
                  <a:pt x="3601069" y="331890"/>
                </a:lnTo>
                <a:lnTo>
                  <a:pt x="3601069" y="336806"/>
                </a:lnTo>
                <a:lnTo>
                  <a:pt x="3485540" y="333118"/>
                </a:lnTo>
                <a:lnTo>
                  <a:pt x="3485540" y="339264"/>
                </a:lnTo>
                <a:lnTo>
                  <a:pt x="3367552" y="333118"/>
                </a:lnTo>
                <a:lnTo>
                  <a:pt x="3367552" y="341722"/>
                </a:lnTo>
                <a:lnTo>
                  <a:pt x="3249565" y="333118"/>
                </a:lnTo>
                <a:lnTo>
                  <a:pt x="3249565" y="344180"/>
                </a:lnTo>
                <a:lnTo>
                  <a:pt x="3131578" y="333118"/>
                </a:lnTo>
                <a:lnTo>
                  <a:pt x="3130348" y="347866"/>
                </a:lnTo>
                <a:lnTo>
                  <a:pt x="3012361" y="333118"/>
                </a:lnTo>
                <a:lnTo>
                  <a:pt x="3011133" y="350325"/>
                </a:lnTo>
                <a:lnTo>
                  <a:pt x="2894374" y="333118"/>
                </a:lnTo>
                <a:lnTo>
                  <a:pt x="2891916" y="354012"/>
                </a:lnTo>
                <a:lnTo>
                  <a:pt x="2776386" y="333118"/>
                </a:lnTo>
                <a:lnTo>
                  <a:pt x="2772700" y="357699"/>
                </a:lnTo>
                <a:lnTo>
                  <a:pt x="2658399" y="333118"/>
                </a:lnTo>
                <a:lnTo>
                  <a:pt x="2653483" y="360157"/>
                </a:lnTo>
                <a:lnTo>
                  <a:pt x="2540412" y="333118"/>
                </a:lnTo>
                <a:lnTo>
                  <a:pt x="2534268" y="365073"/>
                </a:lnTo>
                <a:lnTo>
                  <a:pt x="2422425" y="333118"/>
                </a:lnTo>
                <a:lnTo>
                  <a:pt x="2415051" y="368761"/>
                </a:lnTo>
                <a:lnTo>
                  <a:pt x="2304438" y="333118"/>
                </a:lnTo>
                <a:lnTo>
                  <a:pt x="2294605" y="372447"/>
                </a:lnTo>
                <a:lnTo>
                  <a:pt x="2186450" y="333118"/>
                </a:lnTo>
                <a:lnTo>
                  <a:pt x="2174160" y="377363"/>
                </a:lnTo>
                <a:lnTo>
                  <a:pt x="2068463" y="333118"/>
                </a:lnTo>
                <a:lnTo>
                  <a:pt x="2052486" y="382279"/>
                </a:lnTo>
                <a:lnTo>
                  <a:pt x="1950476" y="333118"/>
                </a:lnTo>
                <a:lnTo>
                  <a:pt x="1930811" y="387196"/>
                </a:lnTo>
                <a:lnTo>
                  <a:pt x="1832489" y="334348"/>
                </a:lnTo>
                <a:lnTo>
                  <a:pt x="1807908" y="392112"/>
                </a:lnTo>
                <a:lnTo>
                  <a:pt x="1714501" y="334348"/>
                </a:lnTo>
                <a:lnTo>
                  <a:pt x="1685005" y="395799"/>
                </a:lnTo>
                <a:lnTo>
                  <a:pt x="1596514" y="333118"/>
                </a:lnTo>
                <a:lnTo>
                  <a:pt x="1560873" y="397028"/>
                </a:lnTo>
                <a:lnTo>
                  <a:pt x="1685005" y="485518"/>
                </a:lnTo>
                <a:lnTo>
                  <a:pt x="1718189" y="425296"/>
                </a:lnTo>
                <a:lnTo>
                  <a:pt x="1815282" y="485518"/>
                </a:lnTo>
                <a:lnTo>
                  <a:pt x="1842321" y="430212"/>
                </a:lnTo>
                <a:lnTo>
                  <a:pt x="1945560" y="485518"/>
                </a:lnTo>
                <a:lnTo>
                  <a:pt x="1967682" y="433899"/>
                </a:lnTo>
                <a:lnTo>
                  <a:pt x="2075837" y="485518"/>
                </a:lnTo>
                <a:lnTo>
                  <a:pt x="2093044" y="438815"/>
                </a:lnTo>
                <a:lnTo>
                  <a:pt x="2204887" y="485518"/>
                </a:lnTo>
                <a:lnTo>
                  <a:pt x="2218405" y="442503"/>
                </a:lnTo>
                <a:lnTo>
                  <a:pt x="2333934" y="485518"/>
                </a:lnTo>
                <a:lnTo>
                  <a:pt x="2344996" y="447419"/>
                </a:lnTo>
                <a:lnTo>
                  <a:pt x="2464212" y="485518"/>
                </a:lnTo>
                <a:lnTo>
                  <a:pt x="2472816" y="451105"/>
                </a:lnTo>
                <a:lnTo>
                  <a:pt x="2593261" y="485518"/>
                </a:lnTo>
                <a:lnTo>
                  <a:pt x="2599406" y="456021"/>
                </a:lnTo>
                <a:lnTo>
                  <a:pt x="2722309" y="485518"/>
                </a:lnTo>
                <a:lnTo>
                  <a:pt x="2728455" y="459709"/>
                </a:lnTo>
                <a:lnTo>
                  <a:pt x="2855045" y="485518"/>
                </a:lnTo>
                <a:lnTo>
                  <a:pt x="2858732" y="463396"/>
                </a:lnTo>
                <a:lnTo>
                  <a:pt x="2985322" y="485518"/>
                </a:lnTo>
                <a:lnTo>
                  <a:pt x="2987780" y="467083"/>
                </a:lnTo>
                <a:lnTo>
                  <a:pt x="3114371" y="485518"/>
                </a:lnTo>
                <a:lnTo>
                  <a:pt x="3115600" y="469541"/>
                </a:lnTo>
                <a:lnTo>
                  <a:pt x="3243419" y="485518"/>
                </a:lnTo>
                <a:lnTo>
                  <a:pt x="3244649" y="473228"/>
                </a:lnTo>
                <a:lnTo>
                  <a:pt x="3373697" y="485518"/>
                </a:lnTo>
                <a:lnTo>
                  <a:pt x="3374927" y="475686"/>
                </a:lnTo>
                <a:lnTo>
                  <a:pt x="3503974" y="485518"/>
                </a:lnTo>
                <a:lnTo>
                  <a:pt x="3503974" y="478144"/>
                </a:lnTo>
                <a:lnTo>
                  <a:pt x="3633024" y="485518"/>
                </a:lnTo>
                <a:lnTo>
                  <a:pt x="3633024" y="481832"/>
                </a:lnTo>
                <a:lnTo>
                  <a:pt x="3641626" y="481832"/>
                </a:lnTo>
                <a:lnTo>
                  <a:pt x="3721514" y="484290"/>
                </a:lnTo>
                <a:lnTo>
                  <a:pt x="3721514" y="486748"/>
                </a:lnTo>
                <a:lnTo>
                  <a:pt x="5726067" y="528535"/>
                </a:lnTo>
                <a:lnTo>
                  <a:pt x="3720284" y="528535"/>
                </a:lnTo>
                <a:lnTo>
                  <a:pt x="3721514" y="529763"/>
                </a:lnTo>
                <a:lnTo>
                  <a:pt x="3603527" y="527305"/>
                </a:lnTo>
                <a:lnTo>
                  <a:pt x="3603527" y="530993"/>
                </a:lnTo>
                <a:lnTo>
                  <a:pt x="3485540" y="527305"/>
                </a:lnTo>
                <a:lnTo>
                  <a:pt x="3485540" y="533451"/>
                </a:lnTo>
                <a:lnTo>
                  <a:pt x="3367552" y="527305"/>
                </a:lnTo>
                <a:lnTo>
                  <a:pt x="3367552" y="535909"/>
                </a:lnTo>
                <a:lnTo>
                  <a:pt x="3249565" y="527305"/>
                </a:lnTo>
                <a:lnTo>
                  <a:pt x="3249565" y="538367"/>
                </a:lnTo>
                <a:lnTo>
                  <a:pt x="3131578" y="527305"/>
                </a:lnTo>
                <a:lnTo>
                  <a:pt x="3130348" y="542054"/>
                </a:lnTo>
                <a:lnTo>
                  <a:pt x="3012361" y="527305"/>
                </a:lnTo>
                <a:lnTo>
                  <a:pt x="3011133" y="544512"/>
                </a:lnTo>
                <a:lnTo>
                  <a:pt x="2894374" y="527305"/>
                </a:lnTo>
                <a:lnTo>
                  <a:pt x="2891916" y="548200"/>
                </a:lnTo>
                <a:lnTo>
                  <a:pt x="2776386" y="527305"/>
                </a:lnTo>
                <a:lnTo>
                  <a:pt x="2772700" y="550658"/>
                </a:lnTo>
                <a:lnTo>
                  <a:pt x="2658399" y="527305"/>
                </a:lnTo>
                <a:lnTo>
                  <a:pt x="2653483" y="554344"/>
                </a:lnTo>
                <a:lnTo>
                  <a:pt x="2540412" y="527305"/>
                </a:lnTo>
                <a:lnTo>
                  <a:pt x="2534268" y="558032"/>
                </a:lnTo>
                <a:lnTo>
                  <a:pt x="2422425" y="527305"/>
                </a:lnTo>
                <a:lnTo>
                  <a:pt x="2415051" y="562948"/>
                </a:lnTo>
                <a:lnTo>
                  <a:pt x="2304438" y="527305"/>
                </a:lnTo>
                <a:lnTo>
                  <a:pt x="2294605" y="566634"/>
                </a:lnTo>
                <a:lnTo>
                  <a:pt x="2186450" y="527305"/>
                </a:lnTo>
                <a:lnTo>
                  <a:pt x="2174160" y="571551"/>
                </a:lnTo>
                <a:lnTo>
                  <a:pt x="2068463" y="527305"/>
                </a:lnTo>
                <a:lnTo>
                  <a:pt x="2052486" y="576467"/>
                </a:lnTo>
                <a:lnTo>
                  <a:pt x="1950476" y="527305"/>
                </a:lnTo>
                <a:lnTo>
                  <a:pt x="1930811" y="580155"/>
                </a:lnTo>
                <a:lnTo>
                  <a:pt x="1832489" y="527305"/>
                </a:lnTo>
                <a:lnTo>
                  <a:pt x="1807908" y="585071"/>
                </a:lnTo>
                <a:lnTo>
                  <a:pt x="1714501" y="527305"/>
                </a:lnTo>
                <a:lnTo>
                  <a:pt x="1685005" y="589987"/>
                </a:lnTo>
                <a:lnTo>
                  <a:pt x="1596514" y="527305"/>
                </a:lnTo>
                <a:lnTo>
                  <a:pt x="1560873" y="591215"/>
                </a:lnTo>
                <a:lnTo>
                  <a:pt x="1685005" y="682164"/>
                </a:lnTo>
                <a:lnTo>
                  <a:pt x="1718189" y="621942"/>
                </a:lnTo>
                <a:lnTo>
                  <a:pt x="1815282" y="682164"/>
                </a:lnTo>
                <a:lnTo>
                  <a:pt x="1842321" y="626858"/>
                </a:lnTo>
                <a:lnTo>
                  <a:pt x="1945560" y="682164"/>
                </a:lnTo>
                <a:lnTo>
                  <a:pt x="1967682" y="630544"/>
                </a:lnTo>
                <a:lnTo>
                  <a:pt x="2075837" y="682164"/>
                </a:lnTo>
                <a:lnTo>
                  <a:pt x="2093044" y="635460"/>
                </a:lnTo>
                <a:lnTo>
                  <a:pt x="2204887" y="682164"/>
                </a:lnTo>
                <a:lnTo>
                  <a:pt x="2218405" y="639148"/>
                </a:lnTo>
                <a:lnTo>
                  <a:pt x="2333934" y="682164"/>
                </a:lnTo>
                <a:lnTo>
                  <a:pt x="2344996" y="644064"/>
                </a:lnTo>
                <a:lnTo>
                  <a:pt x="2464212" y="682164"/>
                </a:lnTo>
                <a:lnTo>
                  <a:pt x="2472816" y="647751"/>
                </a:lnTo>
                <a:lnTo>
                  <a:pt x="2593261" y="682164"/>
                </a:lnTo>
                <a:lnTo>
                  <a:pt x="2599406" y="652667"/>
                </a:lnTo>
                <a:lnTo>
                  <a:pt x="2722309" y="682164"/>
                </a:lnTo>
                <a:lnTo>
                  <a:pt x="2727225" y="656355"/>
                </a:lnTo>
                <a:lnTo>
                  <a:pt x="2852587" y="682164"/>
                </a:lnTo>
                <a:lnTo>
                  <a:pt x="2856274" y="660041"/>
                </a:lnTo>
                <a:lnTo>
                  <a:pt x="2982864" y="682164"/>
                </a:lnTo>
                <a:lnTo>
                  <a:pt x="2985322" y="663729"/>
                </a:lnTo>
                <a:lnTo>
                  <a:pt x="3111913" y="682164"/>
                </a:lnTo>
                <a:lnTo>
                  <a:pt x="3113142" y="666187"/>
                </a:lnTo>
                <a:lnTo>
                  <a:pt x="3240961" y="682164"/>
                </a:lnTo>
                <a:lnTo>
                  <a:pt x="3242191" y="669873"/>
                </a:lnTo>
                <a:lnTo>
                  <a:pt x="3371239" y="682164"/>
                </a:lnTo>
                <a:lnTo>
                  <a:pt x="3372468" y="672331"/>
                </a:lnTo>
                <a:lnTo>
                  <a:pt x="3501516" y="682164"/>
                </a:lnTo>
                <a:lnTo>
                  <a:pt x="3501516" y="674789"/>
                </a:lnTo>
                <a:lnTo>
                  <a:pt x="3630565" y="682164"/>
                </a:lnTo>
                <a:lnTo>
                  <a:pt x="3630565" y="677248"/>
                </a:lnTo>
                <a:lnTo>
                  <a:pt x="3639168" y="677248"/>
                </a:lnTo>
                <a:lnTo>
                  <a:pt x="3719056" y="679706"/>
                </a:lnTo>
                <a:lnTo>
                  <a:pt x="3719056" y="680935"/>
                </a:lnTo>
                <a:lnTo>
                  <a:pt x="5710091" y="722722"/>
                </a:lnTo>
                <a:lnTo>
                  <a:pt x="3719056" y="722722"/>
                </a:lnTo>
                <a:lnTo>
                  <a:pt x="3720284" y="725180"/>
                </a:lnTo>
                <a:lnTo>
                  <a:pt x="3602297" y="722722"/>
                </a:lnTo>
                <a:lnTo>
                  <a:pt x="3602297" y="726409"/>
                </a:lnTo>
                <a:lnTo>
                  <a:pt x="3484310" y="722722"/>
                </a:lnTo>
                <a:lnTo>
                  <a:pt x="3484310" y="728867"/>
                </a:lnTo>
                <a:lnTo>
                  <a:pt x="3366323" y="722722"/>
                </a:lnTo>
                <a:lnTo>
                  <a:pt x="3366323" y="731325"/>
                </a:lnTo>
                <a:lnTo>
                  <a:pt x="3248335" y="722722"/>
                </a:lnTo>
                <a:lnTo>
                  <a:pt x="3248335" y="733783"/>
                </a:lnTo>
                <a:lnTo>
                  <a:pt x="3130348" y="722722"/>
                </a:lnTo>
                <a:lnTo>
                  <a:pt x="3129120" y="737471"/>
                </a:lnTo>
                <a:lnTo>
                  <a:pt x="3011133" y="722722"/>
                </a:lnTo>
                <a:lnTo>
                  <a:pt x="3009903" y="739929"/>
                </a:lnTo>
                <a:lnTo>
                  <a:pt x="2893145" y="722722"/>
                </a:lnTo>
                <a:lnTo>
                  <a:pt x="2890687" y="743615"/>
                </a:lnTo>
                <a:lnTo>
                  <a:pt x="2775158" y="722722"/>
                </a:lnTo>
                <a:lnTo>
                  <a:pt x="2771470" y="746073"/>
                </a:lnTo>
                <a:lnTo>
                  <a:pt x="2657171" y="722722"/>
                </a:lnTo>
                <a:lnTo>
                  <a:pt x="2652255" y="749761"/>
                </a:lnTo>
                <a:lnTo>
                  <a:pt x="2539184" y="722722"/>
                </a:lnTo>
                <a:lnTo>
                  <a:pt x="2533038" y="753448"/>
                </a:lnTo>
                <a:lnTo>
                  <a:pt x="2421196" y="721493"/>
                </a:lnTo>
                <a:lnTo>
                  <a:pt x="2413822" y="757135"/>
                </a:lnTo>
                <a:lnTo>
                  <a:pt x="2303209" y="721493"/>
                </a:lnTo>
                <a:lnTo>
                  <a:pt x="2293377" y="760822"/>
                </a:lnTo>
                <a:lnTo>
                  <a:pt x="2185222" y="721493"/>
                </a:lnTo>
                <a:lnTo>
                  <a:pt x="2172932" y="765738"/>
                </a:lnTo>
                <a:lnTo>
                  <a:pt x="2067235" y="721493"/>
                </a:lnTo>
                <a:lnTo>
                  <a:pt x="2051257" y="770654"/>
                </a:lnTo>
                <a:lnTo>
                  <a:pt x="1949247" y="721493"/>
                </a:lnTo>
                <a:lnTo>
                  <a:pt x="1929583" y="774342"/>
                </a:lnTo>
                <a:lnTo>
                  <a:pt x="1831260" y="721493"/>
                </a:lnTo>
                <a:lnTo>
                  <a:pt x="1806680" y="779258"/>
                </a:lnTo>
                <a:lnTo>
                  <a:pt x="1714501" y="721493"/>
                </a:lnTo>
                <a:lnTo>
                  <a:pt x="1685005" y="782944"/>
                </a:lnTo>
                <a:lnTo>
                  <a:pt x="1596514" y="721493"/>
                </a:lnTo>
                <a:lnTo>
                  <a:pt x="1560873" y="785402"/>
                </a:lnTo>
                <a:lnTo>
                  <a:pt x="1683776" y="875123"/>
                </a:lnTo>
                <a:lnTo>
                  <a:pt x="1716959" y="814899"/>
                </a:lnTo>
                <a:lnTo>
                  <a:pt x="1814054" y="875123"/>
                </a:lnTo>
                <a:lnTo>
                  <a:pt x="1841092" y="819815"/>
                </a:lnTo>
                <a:lnTo>
                  <a:pt x="1944331" y="875123"/>
                </a:lnTo>
                <a:lnTo>
                  <a:pt x="1966454" y="823503"/>
                </a:lnTo>
                <a:lnTo>
                  <a:pt x="2074609" y="875123"/>
                </a:lnTo>
                <a:lnTo>
                  <a:pt x="2091815" y="828419"/>
                </a:lnTo>
                <a:lnTo>
                  <a:pt x="2203657" y="875123"/>
                </a:lnTo>
                <a:lnTo>
                  <a:pt x="2217177" y="832106"/>
                </a:lnTo>
                <a:lnTo>
                  <a:pt x="2332706" y="875123"/>
                </a:lnTo>
                <a:lnTo>
                  <a:pt x="2343767" y="837022"/>
                </a:lnTo>
                <a:lnTo>
                  <a:pt x="2462984" y="875123"/>
                </a:lnTo>
                <a:lnTo>
                  <a:pt x="2471586" y="840710"/>
                </a:lnTo>
                <a:lnTo>
                  <a:pt x="2592031" y="875123"/>
                </a:lnTo>
                <a:lnTo>
                  <a:pt x="2598177" y="845626"/>
                </a:lnTo>
                <a:lnTo>
                  <a:pt x="2721081" y="875123"/>
                </a:lnTo>
                <a:lnTo>
                  <a:pt x="2725997" y="849312"/>
                </a:lnTo>
                <a:lnTo>
                  <a:pt x="2851358" y="875123"/>
                </a:lnTo>
                <a:lnTo>
                  <a:pt x="2855045" y="853000"/>
                </a:lnTo>
                <a:lnTo>
                  <a:pt x="2981636" y="875123"/>
                </a:lnTo>
                <a:lnTo>
                  <a:pt x="2984094" y="856686"/>
                </a:lnTo>
                <a:lnTo>
                  <a:pt x="3110684" y="875123"/>
                </a:lnTo>
                <a:lnTo>
                  <a:pt x="3111913" y="859144"/>
                </a:lnTo>
                <a:lnTo>
                  <a:pt x="3239733" y="875123"/>
                </a:lnTo>
                <a:lnTo>
                  <a:pt x="3240961" y="862832"/>
                </a:lnTo>
                <a:lnTo>
                  <a:pt x="3370010" y="875123"/>
                </a:lnTo>
                <a:lnTo>
                  <a:pt x="3371239" y="865290"/>
                </a:lnTo>
                <a:lnTo>
                  <a:pt x="3501516" y="876351"/>
                </a:lnTo>
                <a:lnTo>
                  <a:pt x="3501516" y="868977"/>
                </a:lnTo>
                <a:lnTo>
                  <a:pt x="3630565" y="876351"/>
                </a:lnTo>
                <a:lnTo>
                  <a:pt x="3630565" y="871435"/>
                </a:lnTo>
                <a:lnTo>
                  <a:pt x="3639168" y="871435"/>
                </a:lnTo>
                <a:lnTo>
                  <a:pt x="3719056" y="873893"/>
                </a:lnTo>
                <a:lnTo>
                  <a:pt x="3719056" y="875123"/>
                </a:lnTo>
                <a:lnTo>
                  <a:pt x="5723611" y="916910"/>
                </a:lnTo>
                <a:lnTo>
                  <a:pt x="3720284" y="916910"/>
                </a:lnTo>
                <a:lnTo>
                  <a:pt x="3721514" y="918138"/>
                </a:lnTo>
                <a:lnTo>
                  <a:pt x="3603527" y="915680"/>
                </a:lnTo>
                <a:lnTo>
                  <a:pt x="3603527" y="919368"/>
                </a:lnTo>
                <a:lnTo>
                  <a:pt x="3485540" y="915680"/>
                </a:lnTo>
                <a:lnTo>
                  <a:pt x="3485540" y="921826"/>
                </a:lnTo>
                <a:lnTo>
                  <a:pt x="3367552" y="915680"/>
                </a:lnTo>
                <a:lnTo>
                  <a:pt x="3367552" y="924284"/>
                </a:lnTo>
                <a:lnTo>
                  <a:pt x="3249565" y="915680"/>
                </a:lnTo>
                <a:lnTo>
                  <a:pt x="3249565" y="926742"/>
                </a:lnTo>
                <a:lnTo>
                  <a:pt x="3132806" y="915680"/>
                </a:lnTo>
                <a:lnTo>
                  <a:pt x="3131578" y="930428"/>
                </a:lnTo>
                <a:lnTo>
                  <a:pt x="3012361" y="915680"/>
                </a:lnTo>
                <a:lnTo>
                  <a:pt x="3011133" y="932886"/>
                </a:lnTo>
                <a:lnTo>
                  <a:pt x="2894374" y="915680"/>
                </a:lnTo>
                <a:lnTo>
                  <a:pt x="2891916" y="936574"/>
                </a:lnTo>
                <a:lnTo>
                  <a:pt x="2776386" y="915680"/>
                </a:lnTo>
                <a:lnTo>
                  <a:pt x="2772700" y="940261"/>
                </a:lnTo>
                <a:lnTo>
                  <a:pt x="2658399" y="915680"/>
                </a:lnTo>
                <a:lnTo>
                  <a:pt x="2653483" y="942719"/>
                </a:lnTo>
                <a:lnTo>
                  <a:pt x="2540412" y="915680"/>
                </a:lnTo>
                <a:lnTo>
                  <a:pt x="2534268" y="947635"/>
                </a:lnTo>
                <a:lnTo>
                  <a:pt x="2422425" y="915680"/>
                </a:lnTo>
                <a:lnTo>
                  <a:pt x="2415051" y="951323"/>
                </a:lnTo>
                <a:lnTo>
                  <a:pt x="2304438" y="915680"/>
                </a:lnTo>
                <a:lnTo>
                  <a:pt x="2294605" y="955009"/>
                </a:lnTo>
                <a:lnTo>
                  <a:pt x="2186450" y="915680"/>
                </a:lnTo>
                <a:lnTo>
                  <a:pt x="2174160" y="959925"/>
                </a:lnTo>
                <a:lnTo>
                  <a:pt x="2068463" y="915680"/>
                </a:lnTo>
                <a:lnTo>
                  <a:pt x="2052486" y="964841"/>
                </a:lnTo>
                <a:lnTo>
                  <a:pt x="1950476" y="915680"/>
                </a:lnTo>
                <a:lnTo>
                  <a:pt x="1930811" y="968529"/>
                </a:lnTo>
                <a:lnTo>
                  <a:pt x="1832489" y="915680"/>
                </a:lnTo>
                <a:lnTo>
                  <a:pt x="1807908" y="973445"/>
                </a:lnTo>
                <a:lnTo>
                  <a:pt x="1714501" y="915680"/>
                </a:lnTo>
                <a:lnTo>
                  <a:pt x="1685005" y="978361"/>
                </a:lnTo>
                <a:lnTo>
                  <a:pt x="1596514" y="915680"/>
                </a:lnTo>
                <a:lnTo>
                  <a:pt x="1560873" y="979590"/>
                </a:lnTo>
                <a:lnTo>
                  <a:pt x="1685005" y="1069310"/>
                </a:lnTo>
                <a:lnTo>
                  <a:pt x="1718189" y="1009087"/>
                </a:lnTo>
                <a:lnTo>
                  <a:pt x="1815282" y="1069310"/>
                </a:lnTo>
                <a:lnTo>
                  <a:pt x="1841092" y="1012774"/>
                </a:lnTo>
                <a:lnTo>
                  <a:pt x="1944331" y="1068080"/>
                </a:lnTo>
                <a:lnTo>
                  <a:pt x="1966454" y="1016461"/>
                </a:lnTo>
                <a:lnTo>
                  <a:pt x="2074609" y="1068080"/>
                </a:lnTo>
                <a:lnTo>
                  <a:pt x="2091815" y="1021377"/>
                </a:lnTo>
                <a:lnTo>
                  <a:pt x="2203657" y="1068080"/>
                </a:lnTo>
                <a:lnTo>
                  <a:pt x="2217177" y="1025065"/>
                </a:lnTo>
                <a:lnTo>
                  <a:pt x="2332706" y="1068080"/>
                </a:lnTo>
                <a:lnTo>
                  <a:pt x="2343767" y="1029981"/>
                </a:lnTo>
                <a:lnTo>
                  <a:pt x="2462984" y="1068080"/>
                </a:lnTo>
                <a:lnTo>
                  <a:pt x="2471586" y="1033667"/>
                </a:lnTo>
                <a:lnTo>
                  <a:pt x="2592031" y="1068080"/>
                </a:lnTo>
                <a:lnTo>
                  <a:pt x="2598177" y="1038583"/>
                </a:lnTo>
                <a:lnTo>
                  <a:pt x="2721081" y="1068080"/>
                </a:lnTo>
                <a:lnTo>
                  <a:pt x="2725997" y="1042271"/>
                </a:lnTo>
                <a:lnTo>
                  <a:pt x="2851358" y="1068080"/>
                </a:lnTo>
                <a:lnTo>
                  <a:pt x="2855045" y="1045958"/>
                </a:lnTo>
                <a:lnTo>
                  <a:pt x="2981636" y="1068080"/>
                </a:lnTo>
                <a:lnTo>
                  <a:pt x="2984094" y="1049645"/>
                </a:lnTo>
                <a:lnTo>
                  <a:pt x="3110684" y="1069310"/>
                </a:lnTo>
                <a:lnTo>
                  <a:pt x="3111913" y="1053332"/>
                </a:lnTo>
                <a:lnTo>
                  <a:pt x="3239733" y="1069310"/>
                </a:lnTo>
                <a:lnTo>
                  <a:pt x="3240961" y="1057020"/>
                </a:lnTo>
                <a:lnTo>
                  <a:pt x="3370010" y="1069310"/>
                </a:lnTo>
                <a:lnTo>
                  <a:pt x="3371239" y="1059478"/>
                </a:lnTo>
                <a:lnTo>
                  <a:pt x="3500288" y="1069310"/>
                </a:lnTo>
                <a:lnTo>
                  <a:pt x="3500288" y="1061936"/>
                </a:lnTo>
                <a:lnTo>
                  <a:pt x="3628107" y="1071768"/>
                </a:lnTo>
                <a:lnTo>
                  <a:pt x="3628107" y="1066852"/>
                </a:lnTo>
                <a:lnTo>
                  <a:pt x="3636710" y="1066852"/>
                </a:lnTo>
                <a:lnTo>
                  <a:pt x="3716598" y="1069310"/>
                </a:lnTo>
                <a:lnTo>
                  <a:pt x="3716598" y="1070538"/>
                </a:lnTo>
                <a:lnTo>
                  <a:pt x="5717465" y="1112325"/>
                </a:lnTo>
                <a:lnTo>
                  <a:pt x="3716598" y="1112325"/>
                </a:lnTo>
                <a:lnTo>
                  <a:pt x="3717826" y="1113555"/>
                </a:lnTo>
                <a:lnTo>
                  <a:pt x="3599839" y="1111097"/>
                </a:lnTo>
                <a:lnTo>
                  <a:pt x="3599839" y="1114783"/>
                </a:lnTo>
                <a:lnTo>
                  <a:pt x="3481852" y="1111097"/>
                </a:lnTo>
                <a:lnTo>
                  <a:pt x="3481852" y="1117242"/>
                </a:lnTo>
                <a:lnTo>
                  <a:pt x="3363865" y="1111097"/>
                </a:lnTo>
                <a:lnTo>
                  <a:pt x="3363865" y="1119700"/>
                </a:lnTo>
                <a:lnTo>
                  <a:pt x="3245877" y="1111097"/>
                </a:lnTo>
                <a:lnTo>
                  <a:pt x="3245877" y="1122158"/>
                </a:lnTo>
                <a:lnTo>
                  <a:pt x="3127890" y="1111097"/>
                </a:lnTo>
                <a:lnTo>
                  <a:pt x="3126662" y="1125845"/>
                </a:lnTo>
                <a:lnTo>
                  <a:pt x="3008674" y="1111097"/>
                </a:lnTo>
                <a:lnTo>
                  <a:pt x="3007445" y="1128304"/>
                </a:lnTo>
                <a:lnTo>
                  <a:pt x="2890687" y="1111097"/>
                </a:lnTo>
                <a:lnTo>
                  <a:pt x="2888229" y="1131990"/>
                </a:lnTo>
                <a:lnTo>
                  <a:pt x="2772700" y="1111097"/>
                </a:lnTo>
                <a:lnTo>
                  <a:pt x="2769012" y="1135678"/>
                </a:lnTo>
                <a:lnTo>
                  <a:pt x="2654713" y="1111097"/>
                </a:lnTo>
                <a:lnTo>
                  <a:pt x="2649797" y="1138136"/>
                </a:lnTo>
                <a:lnTo>
                  <a:pt x="2536726" y="1111097"/>
                </a:lnTo>
                <a:lnTo>
                  <a:pt x="2530580" y="1143052"/>
                </a:lnTo>
                <a:lnTo>
                  <a:pt x="2418738" y="1111097"/>
                </a:lnTo>
                <a:lnTo>
                  <a:pt x="2411364" y="1146738"/>
                </a:lnTo>
                <a:lnTo>
                  <a:pt x="2300751" y="1111097"/>
                </a:lnTo>
                <a:lnTo>
                  <a:pt x="2290919" y="1150426"/>
                </a:lnTo>
                <a:lnTo>
                  <a:pt x="2182764" y="1111097"/>
                </a:lnTo>
                <a:lnTo>
                  <a:pt x="2170474" y="1155342"/>
                </a:lnTo>
                <a:lnTo>
                  <a:pt x="2064777" y="1111097"/>
                </a:lnTo>
                <a:lnTo>
                  <a:pt x="2048799" y="1160258"/>
                </a:lnTo>
                <a:lnTo>
                  <a:pt x="1946789" y="1111097"/>
                </a:lnTo>
                <a:lnTo>
                  <a:pt x="1927125" y="1163945"/>
                </a:lnTo>
                <a:lnTo>
                  <a:pt x="1828802" y="1111097"/>
                </a:lnTo>
                <a:lnTo>
                  <a:pt x="1804221" y="1168861"/>
                </a:lnTo>
                <a:lnTo>
                  <a:pt x="1710815" y="1111097"/>
                </a:lnTo>
                <a:lnTo>
                  <a:pt x="1681318" y="1173777"/>
                </a:lnTo>
                <a:lnTo>
                  <a:pt x="1592828" y="1111097"/>
                </a:lnTo>
                <a:lnTo>
                  <a:pt x="1557185" y="1175007"/>
                </a:lnTo>
                <a:lnTo>
                  <a:pt x="1683776" y="1263497"/>
                </a:lnTo>
                <a:lnTo>
                  <a:pt x="1716959" y="1203274"/>
                </a:lnTo>
                <a:lnTo>
                  <a:pt x="1814054" y="1263497"/>
                </a:lnTo>
                <a:lnTo>
                  <a:pt x="1841092" y="1208190"/>
                </a:lnTo>
                <a:lnTo>
                  <a:pt x="1944331" y="1263497"/>
                </a:lnTo>
                <a:lnTo>
                  <a:pt x="1966454" y="1211878"/>
                </a:lnTo>
                <a:lnTo>
                  <a:pt x="2074609" y="1263497"/>
                </a:lnTo>
                <a:lnTo>
                  <a:pt x="2091815" y="1216794"/>
                </a:lnTo>
                <a:lnTo>
                  <a:pt x="2203657" y="1263497"/>
                </a:lnTo>
                <a:lnTo>
                  <a:pt x="2217177" y="1220480"/>
                </a:lnTo>
                <a:lnTo>
                  <a:pt x="2332706" y="1263497"/>
                </a:lnTo>
                <a:lnTo>
                  <a:pt x="2343767" y="1225397"/>
                </a:lnTo>
                <a:lnTo>
                  <a:pt x="2462984" y="1263497"/>
                </a:lnTo>
                <a:lnTo>
                  <a:pt x="2471586" y="1229084"/>
                </a:lnTo>
                <a:lnTo>
                  <a:pt x="2592031" y="1263497"/>
                </a:lnTo>
                <a:lnTo>
                  <a:pt x="2598177" y="1234000"/>
                </a:lnTo>
                <a:lnTo>
                  <a:pt x="2721081" y="1263497"/>
                </a:lnTo>
                <a:lnTo>
                  <a:pt x="2725997" y="1237687"/>
                </a:lnTo>
                <a:lnTo>
                  <a:pt x="2851358" y="1263497"/>
                </a:lnTo>
                <a:lnTo>
                  <a:pt x="2855045" y="1241375"/>
                </a:lnTo>
                <a:lnTo>
                  <a:pt x="2981636" y="1263497"/>
                </a:lnTo>
                <a:lnTo>
                  <a:pt x="2984094" y="1245061"/>
                </a:lnTo>
                <a:lnTo>
                  <a:pt x="3110684" y="1263497"/>
                </a:lnTo>
                <a:lnTo>
                  <a:pt x="3111913" y="1247519"/>
                </a:lnTo>
                <a:lnTo>
                  <a:pt x="3239733" y="1263497"/>
                </a:lnTo>
                <a:lnTo>
                  <a:pt x="3240961" y="1251207"/>
                </a:lnTo>
                <a:lnTo>
                  <a:pt x="3370010" y="1263497"/>
                </a:lnTo>
                <a:lnTo>
                  <a:pt x="3371239" y="1253665"/>
                </a:lnTo>
                <a:lnTo>
                  <a:pt x="3500288" y="1263497"/>
                </a:lnTo>
                <a:lnTo>
                  <a:pt x="3500288" y="1256123"/>
                </a:lnTo>
                <a:lnTo>
                  <a:pt x="3629336" y="1263497"/>
                </a:lnTo>
                <a:lnTo>
                  <a:pt x="3629336" y="1258581"/>
                </a:lnTo>
                <a:lnTo>
                  <a:pt x="3637940" y="1258581"/>
                </a:lnTo>
                <a:lnTo>
                  <a:pt x="3714140" y="1272100"/>
                </a:lnTo>
                <a:lnTo>
                  <a:pt x="3714140" y="1273329"/>
                </a:lnTo>
                <a:lnTo>
                  <a:pt x="5554003" y="1307742"/>
                </a:lnTo>
                <a:lnTo>
                  <a:pt x="3715368" y="1307742"/>
                </a:lnTo>
                <a:lnTo>
                  <a:pt x="3715368" y="1308971"/>
                </a:lnTo>
                <a:lnTo>
                  <a:pt x="3597381" y="1306513"/>
                </a:lnTo>
                <a:lnTo>
                  <a:pt x="3597381" y="1310200"/>
                </a:lnTo>
                <a:lnTo>
                  <a:pt x="3479394" y="1306513"/>
                </a:lnTo>
                <a:lnTo>
                  <a:pt x="3479394" y="1312659"/>
                </a:lnTo>
                <a:lnTo>
                  <a:pt x="3361406" y="1306513"/>
                </a:lnTo>
                <a:lnTo>
                  <a:pt x="3361406" y="1315117"/>
                </a:lnTo>
                <a:lnTo>
                  <a:pt x="3243419" y="1306513"/>
                </a:lnTo>
                <a:lnTo>
                  <a:pt x="3243419" y="1317575"/>
                </a:lnTo>
                <a:lnTo>
                  <a:pt x="3125432" y="1306513"/>
                </a:lnTo>
                <a:lnTo>
                  <a:pt x="3124204" y="1321261"/>
                </a:lnTo>
                <a:lnTo>
                  <a:pt x="3006216" y="1306513"/>
                </a:lnTo>
                <a:lnTo>
                  <a:pt x="3004987" y="1323719"/>
                </a:lnTo>
                <a:lnTo>
                  <a:pt x="2888229" y="1306513"/>
                </a:lnTo>
                <a:lnTo>
                  <a:pt x="2885771" y="1327407"/>
                </a:lnTo>
                <a:lnTo>
                  <a:pt x="2770242" y="1306513"/>
                </a:lnTo>
                <a:lnTo>
                  <a:pt x="2766554" y="1331093"/>
                </a:lnTo>
                <a:lnTo>
                  <a:pt x="2652255" y="1306513"/>
                </a:lnTo>
                <a:lnTo>
                  <a:pt x="2647339" y="1333551"/>
                </a:lnTo>
                <a:lnTo>
                  <a:pt x="2534268" y="1306513"/>
                </a:lnTo>
                <a:lnTo>
                  <a:pt x="2528122" y="1338468"/>
                </a:lnTo>
                <a:lnTo>
                  <a:pt x="2416280" y="1306513"/>
                </a:lnTo>
                <a:lnTo>
                  <a:pt x="2408906" y="1342155"/>
                </a:lnTo>
                <a:lnTo>
                  <a:pt x="2298293" y="1306513"/>
                </a:lnTo>
                <a:lnTo>
                  <a:pt x="2288461" y="1345842"/>
                </a:lnTo>
                <a:lnTo>
                  <a:pt x="2180306" y="1306513"/>
                </a:lnTo>
                <a:lnTo>
                  <a:pt x="2168015" y="1350758"/>
                </a:lnTo>
                <a:lnTo>
                  <a:pt x="2062319" y="1306513"/>
                </a:lnTo>
                <a:lnTo>
                  <a:pt x="2046340" y="1355674"/>
                </a:lnTo>
                <a:lnTo>
                  <a:pt x="1944331" y="1306513"/>
                </a:lnTo>
                <a:lnTo>
                  <a:pt x="1924667" y="1359362"/>
                </a:lnTo>
                <a:lnTo>
                  <a:pt x="1826344" y="1306513"/>
                </a:lnTo>
                <a:lnTo>
                  <a:pt x="1801763" y="1364278"/>
                </a:lnTo>
                <a:lnTo>
                  <a:pt x="1708357" y="1306513"/>
                </a:lnTo>
                <a:lnTo>
                  <a:pt x="1678860" y="1369194"/>
                </a:lnTo>
                <a:lnTo>
                  <a:pt x="1590370" y="1306513"/>
                </a:lnTo>
                <a:lnTo>
                  <a:pt x="1558424" y="1363794"/>
                </a:lnTo>
                <a:lnTo>
                  <a:pt x="1476069" y="1297910"/>
                </a:lnTo>
                <a:lnTo>
                  <a:pt x="1439198" y="1356904"/>
                </a:lnTo>
                <a:lnTo>
                  <a:pt x="1555957" y="1450310"/>
                </a:lnTo>
                <a:lnTo>
                  <a:pt x="1590332" y="1395311"/>
                </a:lnTo>
                <a:lnTo>
                  <a:pt x="1681318" y="1458913"/>
                </a:lnTo>
                <a:lnTo>
                  <a:pt x="1714501" y="1398691"/>
                </a:lnTo>
                <a:lnTo>
                  <a:pt x="1811596" y="1458913"/>
                </a:lnTo>
                <a:lnTo>
                  <a:pt x="1838634" y="1403607"/>
                </a:lnTo>
                <a:lnTo>
                  <a:pt x="1941873" y="1458913"/>
                </a:lnTo>
                <a:lnTo>
                  <a:pt x="1963996" y="1407293"/>
                </a:lnTo>
                <a:lnTo>
                  <a:pt x="2072151" y="1458913"/>
                </a:lnTo>
                <a:lnTo>
                  <a:pt x="2089357" y="1412210"/>
                </a:lnTo>
                <a:lnTo>
                  <a:pt x="2201199" y="1458913"/>
                </a:lnTo>
                <a:lnTo>
                  <a:pt x="2214719" y="1415897"/>
                </a:lnTo>
                <a:lnTo>
                  <a:pt x="2330248" y="1458913"/>
                </a:lnTo>
                <a:lnTo>
                  <a:pt x="2341309" y="1420814"/>
                </a:lnTo>
                <a:lnTo>
                  <a:pt x="2460525" y="1458913"/>
                </a:lnTo>
                <a:lnTo>
                  <a:pt x="2469128" y="1424500"/>
                </a:lnTo>
                <a:lnTo>
                  <a:pt x="2590803" y="1458913"/>
                </a:lnTo>
                <a:lnTo>
                  <a:pt x="2596948" y="1429416"/>
                </a:lnTo>
                <a:lnTo>
                  <a:pt x="2719851" y="1458913"/>
                </a:lnTo>
                <a:lnTo>
                  <a:pt x="2724767" y="1433104"/>
                </a:lnTo>
                <a:lnTo>
                  <a:pt x="2850129" y="1458913"/>
                </a:lnTo>
                <a:lnTo>
                  <a:pt x="2853816" y="1436790"/>
                </a:lnTo>
                <a:lnTo>
                  <a:pt x="2980406" y="1458913"/>
                </a:lnTo>
                <a:lnTo>
                  <a:pt x="2982864" y="1440478"/>
                </a:lnTo>
                <a:lnTo>
                  <a:pt x="3109455" y="1458913"/>
                </a:lnTo>
                <a:lnTo>
                  <a:pt x="3110684" y="1442936"/>
                </a:lnTo>
                <a:lnTo>
                  <a:pt x="3238503" y="1458913"/>
                </a:lnTo>
                <a:lnTo>
                  <a:pt x="3239733" y="1446623"/>
                </a:lnTo>
                <a:lnTo>
                  <a:pt x="3368781" y="1458913"/>
                </a:lnTo>
                <a:lnTo>
                  <a:pt x="3370010" y="1449081"/>
                </a:lnTo>
                <a:lnTo>
                  <a:pt x="3499058" y="1458913"/>
                </a:lnTo>
                <a:lnTo>
                  <a:pt x="3499058" y="1451539"/>
                </a:lnTo>
                <a:lnTo>
                  <a:pt x="3628107" y="1458913"/>
                </a:lnTo>
                <a:lnTo>
                  <a:pt x="3628107" y="1453997"/>
                </a:lnTo>
                <a:lnTo>
                  <a:pt x="3636710" y="1453997"/>
                </a:lnTo>
                <a:lnTo>
                  <a:pt x="3716598" y="1456455"/>
                </a:lnTo>
                <a:lnTo>
                  <a:pt x="3716598" y="1457685"/>
                </a:lnTo>
                <a:lnTo>
                  <a:pt x="5780145" y="1497014"/>
                </a:lnTo>
                <a:lnTo>
                  <a:pt x="3716598" y="1497014"/>
                </a:lnTo>
                <a:lnTo>
                  <a:pt x="3717826" y="1498242"/>
                </a:lnTo>
                <a:lnTo>
                  <a:pt x="3599839" y="1495784"/>
                </a:lnTo>
                <a:lnTo>
                  <a:pt x="3599839" y="1499472"/>
                </a:lnTo>
                <a:lnTo>
                  <a:pt x="3481852" y="1495784"/>
                </a:lnTo>
                <a:lnTo>
                  <a:pt x="3481852" y="1501930"/>
                </a:lnTo>
                <a:lnTo>
                  <a:pt x="3363865" y="1495784"/>
                </a:lnTo>
                <a:lnTo>
                  <a:pt x="3363865" y="1504388"/>
                </a:lnTo>
                <a:lnTo>
                  <a:pt x="3245877" y="1495784"/>
                </a:lnTo>
                <a:lnTo>
                  <a:pt x="3245877" y="1506846"/>
                </a:lnTo>
                <a:lnTo>
                  <a:pt x="3127890" y="1495784"/>
                </a:lnTo>
                <a:lnTo>
                  <a:pt x="3126662" y="1510532"/>
                </a:lnTo>
                <a:lnTo>
                  <a:pt x="3008674" y="1495784"/>
                </a:lnTo>
                <a:lnTo>
                  <a:pt x="3007445" y="1512990"/>
                </a:lnTo>
                <a:lnTo>
                  <a:pt x="2890687" y="1495784"/>
                </a:lnTo>
                <a:lnTo>
                  <a:pt x="2888229" y="1516678"/>
                </a:lnTo>
                <a:lnTo>
                  <a:pt x="2772700" y="1495784"/>
                </a:lnTo>
                <a:lnTo>
                  <a:pt x="2769012" y="1520365"/>
                </a:lnTo>
                <a:lnTo>
                  <a:pt x="2654713" y="1495784"/>
                </a:lnTo>
                <a:lnTo>
                  <a:pt x="2649797" y="1522823"/>
                </a:lnTo>
                <a:lnTo>
                  <a:pt x="2536726" y="1495784"/>
                </a:lnTo>
                <a:lnTo>
                  <a:pt x="2530580" y="1526510"/>
                </a:lnTo>
                <a:lnTo>
                  <a:pt x="2418738" y="1494556"/>
                </a:lnTo>
                <a:lnTo>
                  <a:pt x="2411364" y="1530197"/>
                </a:lnTo>
                <a:lnTo>
                  <a:pt x="2300751" y="1494556"/>
                </a:lnTo>
                <a:lnTo>
                  <a:pt x="2290919" y="1533885"/>
                </a:lnTo>
                <a:lnTo>
                  <a:pt x="2182764" y="1494556"/>
                </a:lnTo>
                <a:lnTo>
                  <a:pt x="2170474" y="1538801"/>
                </a:lnTo>
                <a:lnTo>
                  <a:pt x="2064777" y="1494556"/>
                </a:lnTo>
                <a:lnTo>
                  <a:pt x="2048799" y="1543717"/>
                </a:lnTo>
                <a:lnTo>
                  <a:pt x="1946789" y="1494556"/>
                </a:lnTo>
                <a:lnTo>
                  <a:pt x="1927125" y="1547403"/>
                </a:lnTo>
                <a:lnTo>
                  <a:pt x="1828802" y="1494556"/>
                </a:lnTo>
                <a:lnTo>
                  <a:pt x="1804221" y="1552319"/>
                </a:lnTo>
                <a:lnTo>
                  <a:pt x="1710815" y="1494556"/>
                </a:lnTo>
                <a:lnTo>
                  <a:pt x="1681318" y="1557236"/>
                </a:lnTo>
                <a:lnTo>
                  <a:pt x="1592828" y="1494556"/>
                </a:lnTo>
                <a:lnTo>
                  <a:pt x="1558702" y="1555745"/>
                </a:lnTo>
                <a:lnTo>
                  <a:pt x="1476069" y="1489639"/>
                </a:lnTo>
                <a:lnTo>
                  <a:pt x="1439198" y="1548633"/>
                </a:lnTo>
                <a:lnTo>
                  <a:pt x="1555957" y="1642040"/>
                </a:lnTo>
                <a:lnTo>
                  <a:pt x="1592683" y="1583279"/>
                </a:lnTo>
                <a:lnTo>
                  <a:pt x="1683776" y="1646956"/>
                </a:lnTo>
                <a:lnTo>
                  <a:pt x="1716959" y="1586732"/>
                </a:lnTo>
                <a:lnTo>
                  <a:pt x="1814054" y="1646956"/>
                </a:lnTo>
                <a:lnTo>
                  <a:pt x="1841092" y="1591649"/>
                </a:lnTo>
                <a:lnTo>
                  <a:pt x="1944331" y="1646956"/>
                </a:lnTo>
                <a:lnTo>
                  <a:pt x="1966454" y="1595336"/>
                </a:lnTo>
                <a:lnTo>
                  <a:pt x="2074609" y="1646956"/>
                </a:lnTo>
                <a:lnTo>
                  <a:pt x="2091815" y="1600252"/>
                </a:lnTo>
                <a:lnTo>
                  <a:pt x="2203657" y="1646956"/>
                </a:lnTo>
                <a:lnTo>
                  <a:pt x="2217177" y="1603939"/>
                </a:lnTo>
                <a:lnTo>
                  <a:pt x="2332706" y="1646956"/>
                </a:lnTo>
                <a:lnTo>
                  <a:pt x="2343767" y="1608855"/>
                </a:lnTo>
                <a:lnTo>
                  <a:pt x="2462984" y="1646956"/>
                </a:lnTo>
                <a:lnTo>
                  <a:pt x="2471586" y="1612543"/>
                </a:lnTo>
                <a:lnTo>
                  <a:pt x="2593261" y="1646956"/>
                </a:lnTo>
                <a:lnTo>
                  <a:pt x="2599406" y="1617459"/>
                </a:lnTo>
                <a:lnTo>
                  <a:pt x="2722309" y="1646956"/>
                </a:lnTo>
                <a:lnTo>
                  <a:pt x="2727225" y="1621145"/>
                </a:lnTo>
                <a:lnTo>
                  <a:pt x="2851358" y="1646956"/>
                </a:lnTo>
                <a:lnTo>
                  <a:pt x="2855045" y="1624833"/>
                </a:lnTo>
                <a:lnTo>
                  <a:pt x="2981636" y="1646956"/>
                </a:lnTo>
                <a:lnTo>
                  <a:pt x="2984094" y="1628520"/>
                </a:lnTo>
                <a:lnTo>
                  <a:pt x="3110684" y="1646956"/>
                </a:lnTo>
                <a:lnTo>
                  <a:pt x="3111913" y="1630978"/>
                </a:lnTo>
                <a:lnTo>
                  <a:pt x="3239733" y="1646956"/>
                </a:lnTo>
                <a:lnTo>
                  <a:pt x="3240961" y="1634665"/>
                </a:lnTo>
                <a:lnTo>
                  <a:pt x="3370010" y="1646956"/>
                </a:lnTo>
                <a:lnTo>
                  <a:pt x="3371239" y="1637123"/>
                </a:lnTo>
                <a:lnTo>
                  <a:pt x="3500288" y="1646956"/>
                </a:lnTo>
                <a:lnTo>
                  <a:pt x="3500288" y="1639581"/>
                </a:lnTo>
                <a:lnTo>
                  <a:pt x="3629336" y="1646956"/>
                </a:lnTo>
                <a:lnTo>
                  <a:pt x="3629336" y="1642040"/>
                </a:lnTo>
                <a:lnTo>
                  <a:pt x="3637940" y="1642040"/>
                </a:lnTo>
                <a:lnTo>
                  <a:pt x="3717826" y="1644498"/>
                </a:lnTo>
                <a:lnTo>
                  <a:pt x="3717826" y="1645726"/>
                </a:lnTo>
                <a:lnTo>
                  <a:pt x="5622828" y="1685055"/>
                </a:lnTo>
                <a:lnTo>
                  <a:pt x="3717826" y="1685055"/>
                </a:lnTo>
                <a:lnTo>
                  <a:pt x="3719056" y="1686285"/>
                </a:lnTo>
                <a:lnTo>
                  <a:pt x="3601069" y="1683827"/>
                </a:lnTo>
                <a:lnTo>
                  <a:pt x="3601069" y="1687513"/>
                </a:lnTo>
                <a:lnTo>
                  <a:pt x="3483081" y="1683827"/>
                </a:lnTo>
                <a:lnTo>
                  <a:pt x="3483081" y="1689971"/>
                </a:lnTo>
                <a:lnTo>
                  <a:pt x="3365094" y="1683827"/>
                </a:lnTo>
                <a:lnTo>
                  <a:pt x="3365094" y="1692429"/>
                </a:lnTo>
                <a:lnTo>
                  <a:pt x="3247107" y="1683827"/>
                </a:lnTo>
                <a:lnTo>
                  <a:pt x="3247107" y="1694887"/>
                </a:lnTo>
                <a:lnTo>
                  <a:pt x="3129120" y="1683827"/>
                </a:lnTo>
                <a:lnTo>
                  <a:pt x="3127890" y="1698575"/>
                </a:lnTo>
                <a:lnTo>
                  <a:pt x="3009903" y="1683827"/>
                </a:lnTo>
                <a:lnTo>
                  <a:pt x="3008674" y="1701033"/>
                </a:lnTo>
                <a:lnTo>
                  <a:pt x="2891916" y="1683827"/>
                </a:lnTo>
                <a:lnTo>
                  <a:pt x="2889458" y="1704720"/>
                </a:lnTo>
                <a:lnTo>
                  <a:pt x="2773928" y="1683827"/>
                </a:lnTo>
                <a:lnTo>
                  <a:pt x="2770242" y="1707178"/>
                </a:lnTo>
                <a:lnTo>
                  <a:pt x="2655941" y="1683827"/>
                </a:lnTo>
                <a:lnTo>
                  <a:pt x="2651025" y="1710865"/>
                </a:lnTo>
                <a:lnTo>
                  <a:pt x="2537954" y="1683827"/>
                </a:lnTo>
                <a:lnTo>
                  <a:pt x="2531809" y="1714552"/>
                </a:lnTo>
                <a:lnTo>
                  <a:pt x="2419967" y="1683827"/>
                </a:lnTo>
                <a:lnTo>
                  <a:pt x="2412593" y="1719468"/>
                </a:lnTo>
                <a:lnTo>
                  <a:pt x="2301980" y="1683827"/>
                </a:lnTo>
                <a:lnTo>
                  <a:pt x="2292147" y="1723156"/>
                </a:lnTo>
                <a:lnTo>
                  <a:pt x="2183992" y="1683827"/>
                </a:lnTo>
                <a:lnTo>
                  <a:pt x="2171702" y="1728072"/>
                </a:lnTo>
                <a:lnTo>
                  <a:pt x="2066005" y="1683827"/>
                </a:lnTo>
                <a:lnTo>
                  <a:pt x="2050028" y="1732988"/>
                </a:lnTo>
                <a:lnTo>
                  <a:pt x="1948018" y="1683827"/>
                </a:lnTo>
                <a:lnTo>
                  <a:pt x="1928353" y="1736674"/>
                </a:lnTo>
                <a:lnTo>
                  <a:pt x="1830031" y="1683827"/>
                </a:lnTo>
                <a:lnTo>
                  <a:pt x="1805450" y="1741591"/>
                </a:lnTo>
                <a:lnTo>
                  <a:pt x="1712043" y="1683827"/>
                </a:lnTo>
                <a:lnTo>
                  <a:pt x="1682547" y="1745278"/>
                </a:lnTo>
                <a:lnTo>
                  <a:pt x="1594056" y="1683827"/>
                </a:lnTo>
                <a:lnTo>
                  <a:pt x="1558415" y="1747736"/>
                </a:lnTo>
                <a:lnTo>
                  <a:pt x="1685005" y="1836227"/>
                </a:lnTo>
                <a:lnTo>
                  <a:pt x="1718189" y="1776004"/>
                </a:lnTo>
                <a:lnTo>
                  <a:pt x="1815282" y="1836227"/>
                </a:lnTo>
                <a:lnTo>
                  <a:pt x="1842321" y="1779691"/>
                </a:lnTo>
                <a:lnTo>
                  <a:pt x="1945560" y="1836227"/>
                </a:lnTo>
                <a:lnTo>
                  <a:pt x="1967682" y="1784607"/>
                </a:lnTo>
                <a:lnTo>
                  <a:pt x="2075837" y="1836227"/>
                </a:lnTo>
                <a:lnTo>
                  <a:pt x="2093044" y="1789524"/>
                </a:lnTo>
                <a:lnTo>
                  <a:pt x="2204887" y="1836227"/>
                </a:lnTo>
                <a:lnTo>
                  <a:pt x="2218405" y="1793210"/>
                </a:lnTo>
                <a:lnTo>
                  <a:pt x="2333934" y="1836227"/>
                </a:lnTo>
                <a:lnTo>
                  <a:pt x="2344996" y="1798126"/>
                </a:lnTo>
                <a:lnTo>
                  <a:pt x="2464212" y="1836227"/>
                </a:lnTo>
                <a:lnTo>
                  <a:pt x="2472816" y="1801814"/>
                </a:lnTo>
                <a:lnTo>
                  <a:pt x="2593261" y="1836227"/>
                </a:lnTo>
                <a:lnTo>
                  <a:pt x="2599406" y="1806730"/>
                </a:lnTo>
                <a:lnTo>
                  <a:pt x="2722309" y="1836227"/>
                </a:lnTo>
                <a:lnTo>
                  <a:pt x="2727225" y="1810417"/>
                </a:lnTo>
                <a:lnTo>
                  <a:pt x="2852587" y="1836227"/>
                </a:lnTo>
                <a:lnTo>
                  <a:pt x="2856274" y="1814104"/>
                </a:lnTo>
                <a:lnTo>
                  <a:pt x="2982864" y="1836227"/>
                </a:lnTo>
                <a:lnTo>
                  <a:pt x="2985322" y="1817791"/>
                </a:lnTo>
                <a:lnTo>
                  <a:pt x="3111913" y="1836227"/>
                </a:lnTo>
                <a:lnTo>
                  <a:pt x="3113142" y="1820249"/>
                </a:lnTo>
                <a:lnTo>
                  <a:pt x="3240961" y="1836227"/>
                </a:lnTo>
                <a:lnTo>
                  <a:pt x="3242191" y="1823937"/>
                </a:lnTo>
                <a:lnTo>
                  <a:pt x="3371239" y="1836227"/>
                </a:lnTo>
                <a:lnTo>
                  <a:pt x="3372468" y="1826395"/>
                </a:lnTo>
                <a:lnTo>
                  <a:pt x="3501516" y="1836227"/>
                </a:lnTo>
                <a:lnTo>
                  <a:pt x="3501516" y="1828853"/>
                </a:lnTo>
                <a:lnTo>
                  <a:pt x="3630565" y="1836227"/>
                </a:lnTo>
                <a:lnTo>
                  <a:pt x="3630565" y="1831311"/>
                </a:lnTo>
                <a:lnTo>
                  <a:pt x="3639168" y="1831311"/>
                </a:lnTo>
                <a:lnTo>
                  <a:pt x="3719056" y="1833769"/>
                </a:lnTo>
                <a:lnTo>
                  <a:pt x="3719056" y="1834997"/>
                </a:lnTo>
                <a:lnTo>
                  <a:pt x="5597019" y="1874326"/>
                </a:lnTo>
                <a:lnTo>
                  <a:pt x="3720284" y="1874326"/>
                </a:lnTo>
                <a:lnTo>
                  <a:pt x="3720284" y="1876784"/>
                </a:lnTo>
                <a:lnTo>
                  <a:pt x="3602297" y="1874326"/>
                </a:lnTo>
                <a:lnTo>
                  <a:pt x="3602297" y="1878014"/>
                </a:lnTo>
                <a:lnTo>
                  <a:pt x="3484310" y="1874326"/>
                </a:lnTo>
                <a:lnTo>
                  <a:pt x="3484310" y="1880472"/>
                </a:lnTo>
                <a:lnTo>
                  <a:pt x="3366323" y="1874326"/>
                </a:lnTo>
                <a:lnTo>
                  <a:pt x="3366323" y="1882930"/>
                </a:lnTo>
                <a:lnTo>
                  <a:pt x="3248335" y="1874326"/>
                </a:lnTo>
                <a:lnTo>
                  <a:pt x="3248335" y="1885388"/>
                </a:lnTo>
                <a:lnTo>
                  <a:pt x="3130348" y="1874326"/>
                </a:lnTo>
                <a:lnTo>
                  <a:pt x="3129120" y="1889075"/>
                </a:lnTo>
                <a:lnTo>
                  <a:pt x="3011133" y="1874326"/>
                </a:lnTo>
                <a:lnTo>
                  <a:pt x="3009903" y="1891533"/>
                </a:lnTo>
                <a:lnTo>
                  <a:pt x="2893145" y="1874326"/>
                </a:lnTo>
                <a:lnTo>
                  <a:pt x="2890687" y="1895220"/>
                </a:lnTo>
                <a:lnTo>
                  <a:pt x="2775158" y="1874326"/>
                </a:lnTo>
                <a:lnTo>
                  <a:pt x="2771470" y="1898907"/>
                </a:lnTo>
                <a:lnTo>
                  <a:pt x="2657171" y="1874326"/>
                </a:lnTo>
                <a:lnTo>
                  <a:pt x="2652255" y="1901365"/>
                </a:lnTo>
                <a:lnTo>
                  <a:pt x="2539184" y="1874326"/>
                </a:lnTo>
                <a:lnTo>
                  <a:pt x="2533038" y="1906281"/>
                </a:lnTo>
                <a:lnTo>
                  <a:pt x="2421196" y="1874326"/>
                </a:lnTo>
                <a:lnTo>
                  <a:pt x="2413822" y="1909969"/>
                </a:lnTo>
                <a:lnTo>
                  <a:pt x="2303209" y="1874326"/>
                </a:lnTo>
                <a:lnTo>
                  <a:pt x="2293377" y="1913655"/>
                </a:lnTo>
                <a:lnTo>
                  <a:pt x="2185222" y="1874326"/>
                </a:lnTo>
                <a:lnTo>
                  <a:pt x="2172932" y="1918571"/>
                </a:lnTo>
                <a:lnTo>
                  <a:pt x="2067235" y="1874326"/>
                </a:lnTo>
                <a:lnTo>
                  <a:pt x="2051257" y="1923488"/>
                </a:lnTo>
                <a:lnTo>
                  <a:pt x="1949247" y="1874326"/>
                </a:lnTo>
                <a:lnTo>
                  <a:pt x="1929583" y="1927175"/>
                </a:lnTo>
                <a:lnTo>
                  <a:pt x="1831260" y="1874326"/>
                </a:lnTo>
                <a:lnTo>
                  <a:pt x="1806680" y="1932091"/>
                </a:lnTo>
                <a:lnTo>
                  <a:pt x="1713273" y="1874326"/>
                </a:lnTo>
                <a:lnTo>
                  <a:pt x="1683776" y="1937008"/>
                </a:lnTo>
                <a:lnTo>
                  <a:pt x="1595286" y="1874326"/>
                </a:lnTo>
                <a:lnTo>
                  <a:pt x="1559643" y="1938236"/>
                </a:lnTo>
                <a:lnTo>
                  <a:pt x="1686234" y="2026726"/>
                </a:lnTo>
                <a:lnTo>
                  <a:pt x="1719418" y="1966504"/>
                </a:lnTo>
                <a:lnTo>
                  <a:pt x="1816512" y="2026726"/>
                </a:lnTo>
                <a:lnTo>
                  <a:pt x="1843551" y="1971421"/>
                </a:lnTo>
                <a:lnTo>
                  <a:pt x="1944331" y="2029184"/>
                </a:lnTo>
                <a:lnTo>
                  <a:pt x="1966454" y="1977565"/>
                </a:lnTo>
                <a:lnTo>
                  <a:pt x="2074609" y="2029184"/>
                </a:lnTo>
                <a:lnTo>
                  <a:pt x="2091815" y="1982481"/>
                </a:lnTo>
                <a:lnTo>
                  <a:pt x="2203657" y="2029184"/>
                </a:lnTo>
                <a:lnTo>
                  <a:pt x="2217177" y="1986169"/>
                </a:lnTo>
                <a:lnTo>
                  <a:pt x="2332706" y="2029184"/>
                </a:lnTo>
                <a:lnTo>
                  <a:pt x="2343767" y="1991085"/>
                </a:lnTo>
                <a:lnTo>
                  <a:pt x="2462984" y="2029184"/>
                </a:lnTo>
                <a:lnTo>
                  <a:pt x="2471586" y="1994772"/>
                </a:lnTo>
                <a:lnTo>
                  <a:pt x="2593261" y="2029184"/>
                </a:lnTo>
                <a:lnTo>
                  <a:pt x="2599406" y="1999688"/>
                </a:lnTo>
                <a:lnTo>
                  <a:pt x="2722309" y="2029184"/>
                </a:lnTo>
                <a:lnTo>
                  <a:pt x="2727225" y="2003375"/>
                </a:lnTo>
                <a:lnTo>
                  <a:pt x="2852587" y="2029184"/>
                </a:lnTo>
                <a:lnTo>
                  <a:pt x="2856274" y="2007062"/>
                </a:lnTo>
                <a:lnTo>
                  <a:pt x="2982864" y="2029184"/>
                </a:lnTo>
                <a:lnTo>
                  <a:pt x="2985322" y="2010750"/>
                </a:lnTo>
                <a:lnTo>
                  <a:pt x="3111913" y="2029184"/>
                </a:lnTo>
                <a:lnTo>
                  <a:pt x="3113142" y="2013208"/>
                </a:lnTo>
                <a:lnTo>
                  <a:pt x="3240961" y="2029184"/>
                </a:lnTo>
                <a:lnTo>
                  <a:pt x="3242191" y="2016894"/>
                </a:lnTo>
                <a:lnTo>
                  <a:pt x="3371239" y="2029184"/>
                </a:lnTo>
                <a:lnTo>
                  <a:pt x="3372468" y="2019352"/>
                </a:lnTo>
                <a:lnTo>
                  <a:pt x="3501516" y="2029184"/>
                </a:lnTo>
                <a:lnTo>
                  <a:pt x="3501516" y="2021810"/>
                </a:lnTo>
                <a:lnTo>
                  <a:pt x="3630565" y="2029184"/>
                </a:lnTo>
                <a:lnTo>
                  <a:pt x="3630565" y="2024268"/>
                </a:lnTo>
                <a:lnTo>
                  <a:pt x="3639168" y="2024268"/>
                </a:lnTo>
                <a:lnTo>
                  <a:pt x="3719056" y="2026726"/>
                </a:lnTo>
                <a:lnTo>
                  <a:pt x="3719056" y="2027956"/>
                </a:lnTo>
                <a:lnTo>
                  <a:pt x="5506071" y="2064827"/>
                </a:lnTo>
                <a:lnTo>
                  <a:pt x="3720284" y="2064827"/>
                </a:lnTo>
                <a:lnTo>
                  <a:pt x="3720284" y="2067285"/>
                </a:lnTo>
                <a:lnTo>
                  <a:pt x="3602297" y="2064827"/>
                </a:lnTo>
                <a:lnTo>
                  <a:pt x="3602297" y="2068514"/>
                </a:lnTo>
                <a:lnTo>
                  <a:pt x="3484310" y="2064827"/>
                </a:lnTo>
                <a:lnTo>
                  <a:pt x="3484310" y="2070972"/>
                </a:lnTo>
                <a:lnTo>
                  <a:pt x="3366323" y="2064827"/>
                </a:lnTo>
                <a:lnTo>
                  <a:pt x="3366323" y="2073430"/>
                </a:lnTo>
                <a:lnTo>
                  <a:pt x="3248335" y="2064827"/>
                </a:lnTo>
                <a:lnTo>
                  <a:pt x="3248335" y="2075888"/>
                </a:lnTo>
                <a:lnTo>
                  <a:pt x="3130348" y="2064827"/>
                </a:lnTo>
                <a:lnTo>
                  <a:pt x="3129120" y="2079576"/>
                </a:lnTo>
                <a:lnTo>
                  <a:pt x="3011133" y="2064827"/>
                </a:lnTo>
                <a:lnTo>
                  <a:pt x="3009903" y="2082034"/>
                </a:lnTo>
                <a:lnTo>
                  <a:pt x="2893145" y="2064827"/>
                </a:lnTo>
                <a:lnTo>
                  <a:pt x="2890687" y="2085720"/>
                </a:lnTo>
                <a:lnTo>
                  <a:pt x="2775158" y="2064827"/>
                </a:lnTo>
                <a:lnTo>
                  <a:pt x="2771470" y="2088178"/>
                </a:lnTo>
                <a:lnTo>
                  <a:pt x="2657171" y="2064827"/>
                </a:lnTo>
                <a:lnTo>
                  <a:pt x="2652255" y="2091866"/>
                </a:lnTo>
                <a:lnTo>
                  <a:pt x="2539184" y="2064827"/>
                </a:lnTo>
                <a:lnTo>
                  <a:pt x="2533038" y="2096782"/>
                </a:lnTo>
                <a:lnTo>
                  <a:pt x="2421196" y="2064827"/>
                </a:lnTo>
                <a:lnTo>
                  <a:pt x="2413822" y="2100468"/>
                </a:lnTo>
                <a:lnTo>
                  <a:pt x="2303209" y="2064827"/>
                </a:lnTo>
                <a:lnTo>
                  <a:pt x="2293377" y="2104156"/>
                </a:lnTo>
                <a:lnTo>
                  <a:pt x="2185222" y="2064827"/>
                </a:lnTo>
                <a:lnTo>
                  <a:pt x="2172932" y="2109072"/>
                </a:lnTo>
                <a:lnTo>
                  <a:pt x="2067235" y="2064827"/>
                </a:lnTo>
                <a:lnTo>
                  <a:pt x="2051257" y="2113989"/>
                </a:lnTo>
                <a:lnTo>
                  <a:pt x="1949247" y="2064827"/>
                </a:lnTo>
                <a:lnTo>
                  <a:pt x="1929583" y="2117675"/>
                </a:lnTo>
                <a:lnTo>
                  <a:pt x="1831260" y="2064827"/>
                </a:lnTo>
                <a:lnTo>
                  <a:pt x="1806680" y="2122591"/>
                </a:lnTo>
                <a:lnTo>
                  <a:pt x="1713273" y="2064827"/>
                </a:lnTo>
                <a:lnTo>
                  <a:pt x="1683776" y="2127507"/>
                </a:lnTo>
                <a:lnTo>
                  <a:pt x="1595286" y="2064827"/>
                </a:lnTo>
                <a:lnTo>
                  <a:pt x="1559643" y="2128737"/>
                </a:lnTo>
                <a:lnTo>
                  <a:pt x="1685005" y="2217227"/>
                </a:lnTo>
                <a:lnTo>
                  <a:pt x="1718189" y="2157004"/>
                </a:lnTo>
                <a:lnTo>
                  <a:pt x="1815282" y="2217227"/>
                </a:lnTo>
                <a:lnTo>
                  <a:pt x="1842321" y="2161920"/>
                </a:lnTo>
                <a:lnTo>
                  <a:pt x="1945560" y="2217227"/>
                </a:lnTo>
                <a:lnTo>
                  <a:pt x="1967682" y="2165608"/>
                </a:lnTo>
                <a:lnTo>
                  <a:pt x="2075837" y="2217227"/>
                </a:lnTo>
                <a:lnTo>
                  <a:pt x="2093044" y="2170524"/>
                </a:lnTo>
                <a:lnTo>
                  <a:pt x="2204887" y="2217227"/>
                </a:lnTo>
                <a:lnTo>
                  <a:pt x="2218405" y="2174211"/>
                </a:lnTo>
                <a:lnTo>
                  <a:pt x="2333934" y="2217227"/>
                </a:lnTo>
                <a:lnTo>
                  <a:pt x="2344996" y="2179127"/>
                </a:lnTo>
                <a:lnTo>
                  <a:pt x="2464212" y="2217227"/>
                </a:lnTo>
                <a:lnTo>
                  <a:pt x="2472816" y="2182814"/>
                </a:lnTo>
                <a:lnTo>
                  <a:pt x="2593261" y="2217227"/>
                </a:lnTo>
                <a:lnTo>
                  <a:pt x="2594490" y="2188959"/>
                </a:lnTo>
                <a:lnTo>
                  <a:pt x="2717393" y="2218456"/>
                </a:lnTo>
                <a:lnTo>
                  <a:pt x="2722309" y="2192647"/>
                </a:lnTo>
                <a:lnTo>
                  <a:pt x="2847670" y="2218456"/>
                </a:lnTo>
                <a:lnTo>
                  <a:pt x="2851358" y="2196333"/>
                </a:lnTo>
                <a:lnTo>
                  <a:pt x="2977948" y="2218456"/>
                </a:lnTo>
                <a:lnTo>
                  <a:pt x="2980406" y="2200021"/>
                </a:lnTo>
                <a:lnTo>
                  <a:pt x="3106997" y="2218456"/>
                </a:lnTo>
                <a:lnTo>
                  <a:pt x="3109455" y="2202479"/>
                </a:lnTo>
                <a:lnTo>
                  <a:pt x="3237275" y="2218456"/>
                </a:lnTo>
                <a:lnTo>
                  <a:pt x="3238503" y="2206165"/>
                </a:lnTo>
                <a:lnTo>
                  <a:pt x="3367552" y="2218456"/>
                </a:lnTo>
                <a:lnTo>
                  <a:pt x="3368781" y="2208623"/>
                </a:lnTo>
                <a:lnTo>
                  <a:pt x="3497830" y="2218456"/>
                </a:lnTo>
                <a:lnTo>
                  <a:pt x="3497830" y="2211082"/>
                </a:lnTo>
                <a:lnTo>
                  <a:pt x="3626878" y="2218456"/>
                </a:lnTo>
                <a:lnTo>
                  <a:pt x="3626878" y="2213540"/>
                </a:lnTo>
                <a:lnTo>
                  <a:pt x="3635482" y="2213540"/>
                </a:lnTo>
                <a:lnTo>
                  <a:pt x="3715368" y="2215998"/>
                </a:lnTo>
                <a:lnTo>
                  <a:pt x="3715368" y="2217227"/>
                </a:lnTo>
                <a:lnTo>
                  <a:pt x="5479032" y="2254098"/>
                </a:lnTo>
                <a:lnTo>
                  <a:pt x="3716598" y="2254098"/>
                </a:lnTo>
                <a:lnTo>
                  <a:pt x="3716598" y="2256556"/>
                </a:lnTo>
                <a:lnTo>
                  <a:pt x="3598611" y="2254098"/>
                </a:lnTo>
                <a:lnTo>
                  <a:pt x="3598611" y="2257785"/>
                </a:lnTo>
                <a:lnTo>
                  <a:pt x="3480623" y="2254098"/>
                </a:lnTo>
                <a:lnTo>
                  <a:pt x="3480623" y="2260243"/>
                </a:lnTo>
                <a:lnTo>
                  <a:pt x="3362636" y="2254098"/>
                </a:lnTo>
                <a:lnTo>
                  <a:pt x="3362636" y="2262701"/>
                </a:lnTo>
                <a:lnTo>
                  <a:pt x="3244649" y="2254098"/>
                </a:lnTo>
                <a:lnTo>
                  <a:pt x="3244649" y="2270075"/>
                </a:lnTo>
                <a:lnTo>
                  <a:pt x="3127890" y="2259014"/>
                </a:lnTo>
                <a:lnTo>
                  <a:pt x="3126662" y="2273763"/>
                </a:lnTo>
                <a:lnTo>
                  <a:pt x="3008674" y="2259014"/>
                </a:lnTo>
                <a:lnTo>
                  <a:pt x="3007445" y="2276221"/>
                </a:lnTo>
                <a:lnTo>
                  <a:pt x="2890687" y="2259014"/>
                </a:lnTo>
                <a:lnTo>
                  <a:pt x="2888229" y="2279907"/>
                </a:lnTo>
                <a:lnTo>
                  <a:pt x="2772700" y="2259014"/>
                </a:lnTo>
                <a:lnTo>
                  <a:pt x="2769012" y="2282365"/>
                </a:lnTo>
                <a:lnTo>
                  <a:pt x="2654713" y="2259014"/>
                </a:lnTo>
                <a:lnTo>
                  <a:pt x="2649797" y="2286053"/>
                </a:lnTo>
                <a:lnTo>
                  <a:pt x="2536726" y="2259014"/>
                </a:lnTo>
                <a:lnTo>
                  <a:pt x="2530580" y="2289740"/>
                </a:lnTo>
                <a:lnTo>
                  <a:pt x="2418738" y="2259014"/>
                </a:lnTo>
                <a:lnTo>
                  <a:pt x="2411364" y="2294656"/>
                </a:lnTo>
                <a:lnTo>
                  <a:pt x="2300751" y="2259014"/>
                </a:lnTo>
                <a:lnTo>
                  <a:pt x="2290919" y="2298344"/>
                </a:lnTo>
                <a:lnTo>
                  <a:pt x="2182764" y="2259014"/>
                </a:lnTo>
                <a:lnTo>
                  <a:pt x="2170474" y="2303260"/>
                </a:lnTo>
                <a:lnTo>
                  <a:pt x="2064777" y="2259014"/>
                </a:lnTo>
                <a:lnTo>
                  <a:pt x="2048799" y="2308176"/>
                </a:lnTo>
                <a:lnTo>
                  <a:pt x="1946789" y="2259014"/>
                </a:lnTo>
                <a:lnTo>
                  <a:pt x="1927125" y="2311862"/>
                </a:lnTo>
                <a:lnTo>
                  <a:pt x="1828802" y="2259014"/>
                </a:lnTo>
                <a:lnTo>
                  <a:pt x="1804221" y="2316778"/>
                </a:lnTo>
                <a:lnTo>
                  <a:pt x="1710815" y="2259014"/>
                </a:lnTo>
                <a:lnTo>
                  <a:pt x="1681318" y="2320466"/>
                </a:lnTo>
                <a:lnTo>
                  <a:pt x="1592828" y="2259014"/>
                </a:lnTo>
                <a:lnTo>
                  <a:pt x="1558938" y="2319780"/>
                </a:lnTo>
                <a:lnTo>
                  <a:pt x="1477299" y="2255327"/>
                </a:lnTo>
                <a:lnTo>
                  <a:pt x="1440428" y="2314320"/>
                </a:lnTo>
                <a:lnTo>
                  <a:pt x="1557185" y="2407727"/>
                </a:lnTo>
                <a:lnTo>
                  <a:pt x="1593545" y="2348341"/>
                </a:lnTo>
                <a:lnTo>
                  <a:pt x="1683776" y="2411415"/>
                </a:lnTo>
                <a:lnTo>
                  <a:pt x="1716959" y="2351191"/>
                </a:lnTo>
                <a:lnTo>
                  <a:pt x="1814054" y="2411415"/>
                </a:lnTo>
                <a:lnTo>
                  <a:pt x="1841092" y="2356107"/>
                </a:lnTo>
                <a:lnTo>
                  <a:pt x="1944331" y="2411415"/>
                </a:lnTo>
                <a:lnTo>
                  <a:pt x="1966454" y="2359795"/>
                </a:lnTo>
                <a:lnTo>
                  <a:pt x="2074609" y="2411415"/>
                </a:lnTo>
                <a:lnTo>
                  <a:pt x="2091815" y="2364711"/>
                </a:lnTo>
                <a:lnTo>
                  <a:pt x="2203657" y="2411415"/>
                </a:lnTo>
                <a:lnTo>
                  <a:pt x="2217177" y="2368398"/>
                </a:lnTo>
                <a:lnTo>
                  <a:pt x="2332706" y="2411415"/>
                </a:lnTo>
                <a:lnTo>
                  <a:pt x="2343767" y="2373314"/>
                </a:lnTo>
                <a:lnTo>
                  <a:pt x="2462984" y="2411415"/>
                </a:lnTo>
                <a:lnTo>
                  <a:pt x="2471586" y="2377002"/>
                </a:lnTo>
                <a:lnTo>
                  <a:pt x="2593261" y="2411415"/>
                </a:lnTo>
                <a:lnTo>
                  <a:pt x="2599406" y="2381918"/>
                </a:lnTo>
                <a:lnTo>
                  <a:pt x="2722309" y="2411415"/>
                </a:lnTo>
                <a:lnTo>
                  <a:pt x="2727225" y="2385604"/>
                </a:lnTo>
                <a:lnTo>
                  <a:pt x="2851358" y="2411415"/>
                </a:lnTo>
                <a:lnTo>
                  <a:pt x="2855045" y="2389292"/>
                </a:lnTo>
                <a:lnTo>
                  <a:pt x="2981636" y="2411415"/>
                </a:lnTo>
                <a:lnTo>
                  <a:pt x="2984094" y="2392978"/>
                </a:lnTo>
                <a:lnTo>
                  <a:pt x="3110684" y="2411415"/>
                </a:lnTo>
                <a:lnTo>
                  <a:pt x="3111913" y="2395437"/>
                </a:lnTo>
                <a:lnTo>
                  <a:pt x="3239733" y="2411415"/>
                </a:lnTo>
                <a:lnTo>
                  <a:pt x="3240961" y="2399124"/>
                </a:lnTo>
                <a:lnTo>
                  <a:pt x="3370010" y="2411415"/>
                </a:lnTo>
                <a:lnTo>
                  <a:pt x="3371239" y="2401582"/>
                </a:lnTo>
                <a:lnTo>
                  <a:pt x="3500288" y="2411415"/>
                </a:lnTo>
                <a:lnTo>
                  <a:pt x="3500288" y="2404040"/>
                </a:lnTo>
                <a:lnTo>
                  <a:pt x="3629336" y="2411415"/>
                </a:lnTo>
                <a:lnTo>
                  <a:pt x="3629336" y="2406498"/>
                </a:lnTo>
                <a:lnTo>
                  <a:pt x="3637940" y="2406498"/>
                </a:lnTo>
                <a:lnTo>
                  <a:pt x="3717826" y="2408957"/>
                </a:lnTo>
                <a:lnTo>
                  <a:pt x="3717826" y="2410185"/>
                </a:lnTo>
                <a:lnTo>
                  <a:pt x="5673219" y="2450744"/>
                </a:lnTo>
                <a:lnTo>
                  <a:pt x="3717826" y="2450744"/>
                </a:lnTo>
                <a:lnTo>
                  <a:pt x="3719056" y="2453202"/>
                </a:lnTo>
                <a:lnTo>
                  <a:pt x="3601069" y="2450744"/>
                </a:lnTo>
                <a:lnTo>
                  <a:pt x="3601069" y="2454430"/>
                </a:lnTo>
                <a:lnTo>
                  <a:pt x="3483081" y="2450744"/>
                </a:lnTo>
                <a:lnTo>
                  <a:pt x="3483081" y="2456888"/>
                </a:lnTo>
                <a:lnTo>
                  <a:pt x="3365094" y="2450744"/>
                </a:lnTo>
                <a:lnTo>
                  <a:pt x="3365094" y="2459346"/>
                </a:lnTo>
                <a:lnTo>
                  <a:pt x="3247107" y="2450744"/>
                </a:lnTo>
                <a:lnTo>
                  <a:pt x="3247107" y="2461804"/>
                </a:lnTo>
                <a:lnTo>
                  <a:pt x="3129120" y="2450744"/>
                </a:lnTo>
                <a:lnTo>
                  <a:pt x="3127890" y="2465492"/>
                </a:lnTo>
                <a:lnTo>
                  <a:pt x="3009903" y="2450744"/>
                </a:lnTo>
                <a:lnTo>
                  <a:pt x="3008674" y="2467950"/>
                </a:lnTo>
                <a:lnTo>
                  <a:pt x="2891916" y="2450744"/>
                </a:lnTo>
                <a:lnTo>
                  <a:pt x="2889458" y="2471637"/>
                </a:lnTo>
                <a:lnTo>
                  <a:pt x="2773928" y="2450744"/>
                </a:lnTo>
                <a:lnTo>
                  <a:pt x="2770242" y="2474095"/>
                </a:lnTo>
                <a:lnTo>
                  <a:pt x="2655941" y="2450744"/>
                </a:lnTo>
                <a:lnTo>
                  <a:pt x="2651025" y="2477782"/>
                </a:lnTo>
                <a:lnTo>
                  <a:pt x="2537954" y="2450744"/>
                </a:lnTo>
                <a:lnTo>
                  <a:pt x="2531809" y="2481469"/>
                </a:lnTo>
                <a:lnTo>
                  <a:pt x="2419967" y="2450744"/>
                </a:lnTo>
                <a:lnTo>
                  <a:pt x="2412593" y="2486385"/>
                </a:lnTo>
                <a:lnTo>
                  <a:pt x="2301980" y="2450744"/>
                </a:lnTo>
                <a:lnTo>
                  <a:pt x="2292147" y="2490073"/>
                </a:lnTo>
                <a:lnTo>
                  <a:pt x="2183992" y="2450744"/>
                </a:lnTo>
                <a:lnTo>
                  <a:pt x="2171702" y="2494989"/>
                </a:lnTo>
                <a:lnTo>
                  <a:pt x="2066005" y="2450744"/>
                </a:lnTo>
                <a:lnTo>
                  <a:pt x="2050028" y="2499905"/>
                </a:lnTo>
                <a:lnTo>
                  <a:pt x="1948018" y="2450744"/>
                </a:lnTo>
                <a:lnTo>
                  <a:pt x="1928353" y="2503592"/>
                </a:lnTo>
                <a:lnTo>
                  <a:pt x="1830031" y="2450744"/>
                </a:lnTo>
                <a:lnTo>
                  <a:pt x="1805450" y="2508508"/>
                </a:lnTo>
                <a:lnTo>
                  <a:pt x="1712043" y="2450744"/>
                </a:lnTo>
                <a:lnTo>
                  <a:pt x="1682547" y="2513424"/>
                </a:lnTo>
                <a:lnTo>
                  <a:pt x="1594056" y="2450744"/>
                </a:lnTo>
                <a:lnTo>
                  <a:pt x="1558983" y="2513634"/>
                </a:lnTo>
                <a:lnTo>
                  <a:pt x="1477299" y="2448286"/>
                </a:lnTo>
                <a:lnTo>
                  <a:pt x="1440428" y="2507279"/>
                </a:lnTo>
                <a:lnTo>
                  <a:pt x="1557185" y="2600686"/>
                </a:lnTo>
                <a:lnTo>
                  <a:pt x="1594056" y="2541692"/>
                </a:lnTo>
                <a:lnTo>
                  <a:pt x="1573013" y="2524858"/>
                </a:lnTo>
                <a:lnTo>
                  <a:pt x="1685005" y="2603144"/>
                </a:lnTo>
                <a:lnTo>
                  <a:pt x="1718189" y="2542921"/>
                </a:lnTo>
                <a:lnTo>
                  <a:pt x="1815282" y="2603144"/>
                </a:lnTo>
                <a:lnTo>
                  <a:pt x="1842321" y="2547837"/>
                </a:lnTo>
                <a:lnTo>
                  <a:pt x="1945560" y="2603144"/>
                </a:lnTo>
                <a:lnTo>
                  <a:pt x="1967682" y="2551524"/>
                </a:lnTo>
                <a:lnTo>
                  <a:pt x="2075837" y="2603144"/>
                </a:lnTo>
                <a:lnTo>
                  <a:pt x="2093044" y="2556441"/>
                </a:lnTo>
                <a:lnTo>
                  <a:pt x="2204887" y="2603144"/>
                </a:lnTo>
                <a:lnTo>
                  <a:pt x="2218405" y="2560127"/>
                </a:lnTo>
                <a:lnTo>
                  <a:pt x="2333934" y="2603144"/>
                </a:lnTo>
                <a:lnTo>
                  <a:pt x="2344996" y="2565043"/>
                </a:lnTo>
                <a:lnTo>
                  <a:pt x="2464212" y="2603144"/>
                </a:lnTo>
                <a:lnTo>
                  <a:pt x="2472816" y="2568731"/>
                </a:lnTo>
                <a:lnTo>
                  <a:pt x="2594490" y="2603144"/>
                </a:lnTo>
                <a:lnTo>
                  <a:pt x="2600635" y="2573647"/>
                </a:lnTo>
                <a:lnTo>
                  <a:pt x="2723539" y="2603144"/>
                </a:lnTo>
                <a:lnTo>
                  <a:pt x="2728455" y="2577334"/>
                </a:lnTo>
                <a:lnTo>
                  <a:pt x="2852587" y="2603144"/>
                </a:lnTo>
                <a:lnTo>
                  <a:pt x="2856274" y="2581021"/>
                </a:lnTo>
                <a:lnTo>
                  <a:pt x="2982864" y="2603144"/>
                </a:lnTo>
                <a:lnTo>
                  <a:pt x="2985322" y="2584708"/>
                </a:lnTo>
                <a:lnTo>
                  <a:pt x="3111913" y="2603144"/>
                </a:lnTo>
                <a:lnTo>
                  <a:pt x="3113142" y="2587166"/>
                </a:lnTo>
                <a:lnTo>
                  <a:pt x="3240961" y="2603144"/>
                </a:lnTo>
                <a:lnTo>
                  <a:pt x="3242191" y="2590854"/>
                </a:lnTo>
                <a:lnTo>
                  <a:pt x="3371239" y="2603144"/>
                </a:lnTo>
                <a:lnTo>
                  <a:pt x="3372468" y="2593312"/>
                </a:lnTo>
                <a:lnTo>
                  <a:pt x="3501516" y="2603144"/>
                </a:lnTo>
                <a:lnTo>
                  <a:pt x="3501516" y="2595770"/>
                </a:lnTo>
                <a:lnTo>
                  <a:pt x="3630565" y="2603144"/>
                </a:lnTo>
                <a:lnTo>
                  <a:pt x="3630565" y="2598228"/>
                </a:lnTo>
                <a:lnTo>
                  <a:pt x="3639168" y="2598228"/>
                </a:lnTo>
                <a:lnTo>
                  <a:pt x="3719056" y="2600686"/>
                </a:lnTo>
                <a:lnTo>
                  <a:pt x="3719056" y="2601914"/>
                </a:lnTo>
                <a:lnTo>
                  <a:pt x="5740817" y="2643701"/>
                </a:lnTo>
                <a:lnTo>
                  <a:pt x="3719056" y="2643701"/>
                </a:lnTo>
                <a:lnTo>
                  <a:pt x="3719056" y="2644931"/>
                </a:lnTo>
                <a:lnTo>
                  <a:pt x="3601069" y="2642473"/>
                </a:lnTo>
                <a:lnTo>
                  <a:pt x="3601069" y="2647389"/>
                </a:lnTo>
                <a:lnTo>
                  <a:pt x="3483081" y="2643701"/>
                </a:lnTo>
                <a:lnTo>
                  <a:pt x="3483081" y="2649847"/>
                </a:lnTo>
                <a:lnTo>
                  <a:pt x="3365094" y="2643701"/>
                </a:lnTo>
                <a:lnTo>
                  <a:pt x="3365094" y="2652305"/>
                </a:lnTo>
                <a:lnTo>
                  <a:pt x="3247107" y="2643701"/>
                </a:lnTo>
                <a:lnTo>
                  <a:pt x="3247107" y="2654763"/>
                </a:lnTo>
                <a:lnTo>
                  <a:pt x="3129120" y="2643701"/>
                </a:lnTo>
                <a:lnTo>
                  <a:pt x="3127890" y="2658450"/>
                </a:lnTo>
                <a:lnTo>
                  <a:pt x="3009903" y="2643701"/>
                </a:lnTo>
                <a:lnTo>
                  <a:pt x="3008674" y="2660908"/>
                </a:lnTo>
                <a:lnTo>
                  <a:pt x="2891916" y="2643701"/>
                </a:lnTo>
                <a:lnTo>
                  <a:pt x="2889458" y="2664596"/>
                </a:lnTo>
                <a:lnTo>
                  <a:pt x="2773928" y="2643701"/>
                </a:lnTo>
                <a:lnTo>
                  <a:pt x="2770242" y="2668282"/>
                </a:lnTo>
                <a:lnTo>
                  <a:pt x="2655941" y="2643701"/>
                </a:lnTo>
                <a:lnTo>
                  <a:pt x="2651025" y="2670740"/>
                </a:lnTo>
                <a:lnTo>
                  <a:pt x="2537954" y="2643701"/>
                </a:lnTo>
                <a:lnTo>
                  <a:pt x="2531809" y="2675656"/>
                </a:lnTo>
                <a:lnTo>
                  <a:pt x="2419967" y="2643701"/>
                </a:lnTo>
                <a:lnTo>
                  <a:pt x="2412593" y="2679344"/>
                </a:lnTo>
                <a:lnTo>
                  <a:pt x="2301980" y="2643701"/>
                </a:lnTo>
                <a:lnTo>
                  <a:pt x="2292147" y="2683030"/>
                </a:lnTo>
                <a:lnTo>
                  <a:pt x="2183992" y="2643701"/>
                </a:lnTo>
                <a:lnTo>
                  <a:pt x="2171702" y="2687947"/>
                </a:lnTo>
                <a:lnTo>
                  <a:pt x="2066005" y="2643701"/>
                </a:lnTo>
                <a:lnTo>
                  <a:pt x="2050028" y="2692863"/>
                </a:lnTo>
                <a:lnTo>
                  <a:pt x="1948018" y="2643701"/>
                </a:lnTo>
                <a:lnTo>
                  <a:pt x="1928353" y="2697779"/>
                </a:lnTo>
                <a:lnTo>
                  <a:pt x="1830031" y="2644931"/>
                </a:lnTo>
                <a:lnTo>
                  <a:pt x="1805450" y="2702695"/>
                </a:lnTo>
                <a:lnTo>
                  <a:pt x="1712043" y="2644931"/>
                </a:lnTo>
                <a:lnTo>
                  <a:pt x="1682547" y="2706383"/>
                </a:lnTo>
                <a:lnTo>
                  <a:pt x="1594056" y="2643701"/>
                </a:lnTo>
                <a:lnTo>
                  <a:pt x="1558510" y="2707442"/>
                </a:lnTo>
                <a:lnTo>
                  <a:pt x="1477299" y="2642473"/>
                </a:lnTo>
                <a:lnTo>
                  <a:pt x="1440428" y="2701467"/>
                </a:lnTo>
                <a:lnTo>
                  <a:pt x="1557185" y="2794873"/>
                </a:lnTo>
                <a:lnTo>
                  <a:pt x="1594056" y="2735879"/>
                </a:lnTo>
                <a:lnTo>
                  <a:pt x="1560841" y="2709307"/>
                </a:lnTo>
                <a:lnTo>
                  <a:pt x="1685005" y="2796101"/>
                </a:lnTo>
                <a:lnTo>
                  <a:pt x="1718189" y="2735879"/>
                </a:lnTo>
                <a:lnTo>
                  <a:pt x="1815282" y="2796101"/>
                </a:lnTo>
                <a:lnTo>
                  <a:pt x="1842321" y="2740796"/>
                </a:lnTo>
                <a:lnTo>
                  <a:pt x="1945560" y="2796101"/>
                </a:lnTo>
                <a:lnTo>
                  <a:pt x="1967682" y="2744482"/>
                </a:lnTo>
                <a:lnTo>
                  <a:pt x="2075837" y="2796101"/>
                </a:lnTo>
                <a:lnTo>
                  <a:pt x="2093044" y="2749398"/>
                </a:lnTo>
                <a:lnTo>
                  <a:pt x="2204887" y="2796101"/>
                </a:lnTo>
                <a:lnTo>
                  <a:pt x="2218405" y="2753086"/>
                </a:lnTo>
                <a:lnTo>
                  <a:pt x="2333934" y="2796101"/>
                </a:lnTo>
                <a:lnTo>
                  <a:pt x="2344996" y="2758002"/>
                </a:lnTo>
                <a:lnTo>
                  <a:pt x="2464212" y="2796101"/>
                </a:lnTo>
                <a:lnTo>
                  <a:pt x="2472816" y="2761689"/>
                </a:lnTo>
                <a:lnTo>
                  <a:pt x="2594490" y="2796101"/>
                </a:lnTo>
                <a:lnTo>
                  <a:pt x="2600635" y="2766605"/>
                </a:lnTo>
                <a:lnTo>
                  <a:pt x="2723539" y="2796101"/>
                </a:lnTo>
                <a:lnTo>
                  <a:pt x="2728455" y="2770292"/>
                </a:lnTo>
                <a:lnTo>
                  <a:pt x="2850129" y="2797331"/>
                </a:lnTo>
                <a:lnTo>
                  <a:pt x="2853816" y="2775209"/>
                </a:lnTo>
                <a:lnTo>
                  <a:pt x="2980406" y="2797331"/>
                </a:lnTo>
                <a:lnTo>
                  <a:pt x="2982864" y="2778895"/>
                </a:lnTo>
                <a:lnTo>
                  <a:pt x="3109455" y="2797331"/>
                </a:lnTo>
                <a:lnTo>
                  <a:pt x="3110684" y="2781353"/>
                </a:lnTo>
                <a:lnTo>
                  <a:pt x="3238503" y="2797331"/>
                </a:lnTo>
                <a:lnTo>
                  <a:pt x="3239733" y="2785041"/>
                </a:lnTo>
                <a:lnTo>
                  <a:pt x="3368781" y="2797331"/>
                </a:lnTo>
                <a:lnTo>
                  <a:pt x="3370010" y="2787499"/>
                </a:lnTo>
                <a:lnTo>
                  <a:pt x="3499058" y="2797331"/>
                </a:lnTo>
                <a:lnTo>
                  <a:pt x="3499058" y="2789957"/>
                </a:lnTo>
                <a:lnTo>
                  <a:pt x="3628107" y="2797331"/>
                </a:lnTo>
                <a:lnTo>
                  <a:pt x="3628107" y="2792415"/>
                </a:lnTo>
                <a:lnTo>
                  <a:pt x="3636710" y="2792415"/>
                </a:lnTo>
                <a:lnTo>
                  <a:pt x="3716598" y="2794873"/>
                </a:lnTo>
                <a:lnTo>
                  <a:pt x="3716598" y="2801018"/>
                </a:lnTo>
                <a:lnTo>
                  <a:pt x="5708861" y="2842805"/>
                </a:lnTo>
                <a:lnTo>
                  <a:pt x="3716598" y="2842805"/>
                </a:lnTo>
                <a:lnTo>
                  <a:pt x="3716598" y="2844034"/>
                </a:lnTo>
                <a:lnTo>
                  <a:pt x="3598611" y="2841576"/>
                </a:lnTo>
                <a:lnTo>
                  <a:pt x="3598611" y="2845263"/>
                </a:lnTo>
                <a:lnTo>
                  <a:pt x="3480623" y="2841576"/>
                </a:lnTo>
                <a:lnTo>
                  <a:pt x="3480623" y="2847721"/>
                </a:lnTo>
                <a:lnTo>
                  <a:pt x="3362636" y="2841576"/>
                </a:lnTo>
                <a:lnTo>
                  <a:pt x="3362636" y="2850179"/>
                </a:lnTo>
                <a:lnTo>
                  <a:pt x="3244649" y="2841576"/>
                </a:lnTo>
                <a:lnTo>
                  <a:pt x="3244649" y="2852637"/>
                </a:lnTo>
                <a:lnTo>
                  <a:pt x="3126662" y="2841576"/>
                </a:lnTo>
                <a:lnTo>
                  <a:pt x="3125432" y="2856325"/>
                </a:lnTo>
                <a:lnTo>
                  <a:pt x="3007445" y="2841576"/>
                </a:lnTo>
                <a:lnTo>
                  <a:pt x="3006216" y="2858783"/>
                </a:lnTo>
                <a:lnTo>
                  <a:pt x="2889458" y="2841576"/>
                </a:lnTo>
                <a:lnTo>
                  <a:pt x="2887000" y="2862469"/>
                </a:lnTo>
                <a:lnTo>
                  <a:pt x="2771470" y="2841576"/>
                </a:lnTo>
                <a:lnTo>
                  <a:pt x="2767784" y="2864927"/>
                </a:lnTo>
                <a:lnTo>
                  <a:pt x="2653483" y="2841576"/>
                </a:lnTo>
                <a:lnTo>
                  <a:pt x="2648567" y="2868615"/>
                </a:lnTo>
                <a:lnTo>
                  <a:pt x="2535496" y="2841576"/>
                </a:lnTo>
                <a:lnTo>
                  <a:pt x="2529351" y="2872302"/>
                </a:lnTo>
                <a:lnTo>
                  <a:pt x="2417509" y="2841576"/>
                </a:lnTo>
                <a:lnTo>
                  <a:pt x="2410134" y="2877218"/>
                </a:lnTo>
                <a:lnTo>
                  <a:pt x="2299521" y="2841576"/>
                </a:lnTo>
                <a:lnTo>
                  <a:pt x="2289689" y="2880905"/>
                </a:lnTo>
                <a:lnTo>
                  <a:pt x="2181534" y="2841576"/>
                </a:lnTo>
                <a:lnTo>
                  <a:pt x="2169244" y="2885822"/>
                </a:lnTo>
                <a:lnTo>
                  <a:pt x="2063547" y="2841576"/>
                </a:lnTo>
                <a:lnTo>
                  <a:pt x="2047570" y="2890738"/>
                </a:lnTo>
                <a:lnTo>
                  <a:pt x="1945560" y="2841576"/>
                </a:lnTo>
                <a:lnTo>
                  <a:pt x="1925895" y="2894424"/>
                </a:lnTo>
                <a:lnTo>
                  <a:pt x="1827572" y="2841576"/>
                </a:lnTo>
                <a:lnTo>
                  <a:pt x="1802992" y="2899340"/>
                </a:lnTo>
                <a:lnTo>
                  <a:pt x="1709585" y="2841576"/>
                </a:lnTo>
                <a:lnTo>
                  <a:pt x="1680088" y="2903028"/>
                </a:lnTo>
                <a:lnTo>
                  <a:pt x="1591598" y="2841576"/>
                </a:lnTo>
                <a:lnTo>
                  <a:pt x="1557758" y="2902257"/>
                </a:lnTo>
                <a:lnTo>
                  <a:pt x="1477299" y="2837889"/>
                </a:lnTo>
                <a:lnTo>
                  <a:pt x="1440428" y="2896882"/>
                </a:lnTo>
                <a:lnTo>
                  <a:pt x="1557185" y="2990289"/>
                </a:lnTo>
                <a:lnTo>
                  <a:pt x="1593698" y="2931868"/>
                </a:lnTo>
                <a:lnTo>
                  <a:pt x="1682547" y="2993977"/>
                </a:lnTo>
                <a:lnTo>
                  <a:pt x="1715731" y="2933753"/>
                </a:lnTo>
                <a:lnTo>
                  <a:pt x="1812824" y="2993977"/>
                </a:lnTo>
                <a:lnTo>
                  <a:pt x="1839863" y="2938669"/>
                </a:lnTo>
                <a:lnTo>
                  <a:pt x="1943102" y="2993977"/>
                </a:lnTo>
                <a:lnTo>
                  <a:pt x="1965224" y="2942357"/>
                </a:lnTo>
                <a:lnTo>
                  <a:pt x="2073379" y="2993977"/>
                </a:lnTo>
                <a:lnTo>
                  <a:pt x="2090586" y="2947273"/>
                </a:lnTo>
                <a:lnTo>
                  <a:pt x="2202428" y="2993977"/>
                </a:lnTo>
                <a:lnTo>
                  <a:pt x="2215947" y="2950960"/>
                </a:lnTo>
                <a:lnTo>
                  <a:pt x="2331476" y="2993977"/>
                </a:lnTo>
                <a:lnTo>
                  <a:pt x="2342538" y="2955876"/>
                </a:lnTo>
                <a:lnTo>
                  <a:pt x="2461754" y="2993977"/>
                </a:lnTo>
                <a:lnTo>
                  <a:pt x="2470358" y="2959564"/>
                </a:lnTo>
                <a:lnTo>
                  <a:pt x="2592031" y="2993977"/>
                </a:lnTo>
                <a:lnTo>
                  <a:pt x="2598177" y="2964480"/>
                </a:lnTo>
                <a:lnTo>
                  <a:pt x="2721081" y="2993977"/>
                </a:lnTo>
                <a:lnTo>
                  <a:pt x="2725997" y="2968166"/>
                </a:lnTo>
                <a:lnTo>
                  <a:pt x="2851358" y="2993977"/>
                </a:lnTo>
                <a:lnTo>
                  <a:pt x="2855045" y="2971854"/>
                </a:lnTo>
                <a:lnTo>
                  <a:pt x="2981636" y="2993977"/>
                </a:lnTo>
                <a:lnTo>
                  <a:pt x="2984094" y="2975540"/>
                </a:lnTo>
                <a:lnTo>
                  <a:pt x="3110684" y="2993977"/>
                </a:lnTo>
                <a:lnTo>
                  <a:pt x="3111913" y="2977998"/>
                </a:lnTo>
                <a:lnTo>
                  <a:pt x="3239733" y="2993977"/>
                </a:lnTo>
                <a:lnTo>
                  <a:pt x="3240961" y="2981686"/>
                </a:lnTo>
                <a:lnTo>
                  <a:pt x="3370010" y="2993977"/>
                </a:lnTo>
                <a:lnTo>
                  <a:pt x="3371239" y="2984144"/>
                </a:lnTo>
                <a:lnTo>
                  <a:pt x="3500288" y="2993977"/>
                </a:lnTo>
                <a:lnTo>
                  <a:pt x="3500288" y="2986602"/>
                </a:lnTo>
                <a:lnTo>
                  <a:pt x="3629336" y="2993977"/>
                </a:lnTo>
                <a:lnTo>
                  <a:pt x="3629336" y="2989060"/>
                </a:lnTo>
                <a:lnTo>
                  <a:pt x="3637940" y="2989060"/>
                </a:lnTo>
                <a:lnTo>
                  <a:pt x="3717826" y="2991518"/>
                </a:lnTo>
                <a:lnTo>
                  <a:pt x="3717826" y="2992747"/>
                </a:lnTo>
                <a:lnTo>
                  <a:pt x="5716236" y="3034534"/>
                </a:lnTo>
                <a:lnTo>
                  <a:pt x="3717826" y="3034534"/>
                </a:lnTo>
                <a:lnTo>
                  <a:pt x="3717826" y="3035764"/>
                </a:lnTo>
                <a:lnTo>
                  <a:pt x="3599839" y="3033306"/>
                </a:lnTo>
                <a:lnTo>
                  <a:pt x="3599839" y="3036992"/>
                </a:lnTo>
                <a:lnTo>
                  <a:pt x="3481852" y="3033306"/>
                </a:lnTo>
                <a:lnTo>
                  <a:pt x="3481852" y="3039450"/>
                </a:lnTo>
                <a:lnTo>
                  <a:pt x="3363865" y="3033306"/>
                </a:lnTo>
                <a:lnTo>
                  <a:pt x="3363865" y="3041908"/>
                </a:lnTo>
                <a:lnTo>
                  <a:pt x="3245877" y="3033306"/>
                </a:lnTo>
                <a:lnTo>
                  <a:pt x="3245877" y="3044366"/>
                </a:lnTo>
                <a:lnTo>
                  <a:pt x="3127890" y="3033306"/>
                </a:lnTo>
                <a:lnTo>
                  <a:pt x="3126662" y="3048054"/>
                </a:lnTo>
                <a:lnTo>
                  <a:pt x="3008674" y="3033306"/>
                </a:lnTo>
                <a:lnTo>
                  <a:pt x="3007445" y="3050512"/>
                </a:lnTo>
                <a:lnTo>
                  <a:pt x="2890687" y="3033306"/>
                </a:lnTo>
                <a:lnTo>
                  <a:pt x="2888229" y="3054199"/>
                </a:lnTo>
                <a:lnTo>
                  <a:pt x="2772700" y="3033306"/>
                </a:lnTo>
                <a:lnTo>
                  <a:pt x="2769012" y="3056657"/>
                </a:lnTo>
                <a:lnTo>
                  <a:pt x="2654713" y="3033306"/>
                </a:lnTo>
                <a:lnTo>
                  <a:pt x="2649797" y="3060344"/>
                </a:lnTo>
                <a:lnTo>
                  <a:pt x="2536726" y="3033306"/>
                </a:lnTo>
                <a:lnTo>
                  <a:pt x="2530580" y="3064031"/>
                </a:lnTo>
                <a:lnTo>
                  <a:pt x="2418738" y="3033306"/>
                </a:lnTo>
                <a:lnTo>
                  <a:pt x="2411364" y="3068947"/>
                </a:lnTo>
                <a:lnTo>
                  <a:pt x="2300751" y="3033306"/>
                </a:lnTo>
                <a:lnTo>
                  <a:pt x="2290919" y="3072635"/>
                </a:lnTo>
                <a:lnTo>
                  <a:pt x="2182764" y="3033306"/>
                </a:lnTo>
                <a:lnTo>
                  <a:pt x="2170474" y="3077551"/>
                </a:lnTo>
                <a:lnTo>
                  <a:pt x="2064777" y="3033306"/>
                </a:lnTo>
                <a:lnTo>
                  <a:pt x="2048799" y="3082467"/>
                </a:lnTo>
                <a:lnTo>
                  <a:pt x="1946789" y="3033306"/>
                </a:lnTo>
                <a:lnTo>
                  <a:pt x="1927125" y="3086153"/>
                </a:lnTo>
                <a:lnTo>
                  <a:pt x="1828802" y="3033306"/>
                </a:lnTo>
                <a:lnTo>
                  <a:pt x="1804221" y="3091070"/>
                </a:lnTo>
                <a:lnTo>
                  <a:pt x="1710815" y="3033306"/>
                </a:lnTo>
                <a:lnTo>
                  <a:pt x="1681318" y="3094757"/>
                </a:lnTo>
                <a:lnTo>
                  <a:pt x="1592828" y="3033306"/>
                </a:lnTo>
                <a:lnTo>
                  <a:pt x="1557806" y="3096101"/>
                </a:lnTo>
                <a:lnTo>
                  <a:pt x="1477299" y="3030848"/>
                </a:lnTo>
                <a:lnTo>
                  <a:pt x="1440428" y="3089841"/>
                </a:lnTo>
                <a:lnTo>
                  <a:pt x="1557185" y="3184476"/>
                </a:lnTo>
                <a:lnTo>
                  <a:pt x="1594056" y="3125482"/>
                </a:lnTo>
                <a:lnTo>
                  <a:pt x="1571695" y="3107358"/>
                </a:lnTo>
                <a:lnTo>
                  <a:pt x="1683776" y="3185706"/>
                </a:lnTo>
                <a:lnTo>
                  <a:pt x="1716959" y="3125482"/>
                </a:lnTo>
                <a:lnTo>
                  <a:pt x="1814054" y="3185706"/>
                </a:lnTo>
                <a:lnTo>
                  <a:pt x="1841092" y="3130399"/>
                </a:lnTo>
                <a:lnTo>
                  <a:pt x="1944331" y="3185706"/>
                </a:lnTo>
                <a:lnTo>
                  <a:pt x="1966454" y="3134086"/>
                </a:lnTo>
                <a:lnTo>
                  <a:pt x="2074609" y="3185706"/>
                </a:lnTo>
                <a:lnTo>
                  <a:pt x="2091815" y="3139003"/>
                </a:lnTo>
                <a:lnTo>
                  <a:pt x="2203657" y="3185706"/>
                </a:lnTo>
                <a:lnTo>
                  <a:pt x="2217177" y="3142689"/>
                </a:lnTo>
                <a:lnTo>
                  <a:pt x="2332706" y="3185706"/>
                </a:lnTo>
                <a:lnTo>
                  <a:pt x="2343767" y="3147605"/>
                </a:lnTo>
                <a:lnTo>
                  <a:pt x="2462984" y="3185706"/>
                </a:lnTo>
                <a:lnTo>
                  <a:pt x="2471586" y="3151293"/>
                </a:lnTo>
                <a:lnTo>
                  <a:pt x="2593261" y="3185706"/>
                </a:lnTo>
                <a:lnTo>
                  <a:pt x="2599406" y="3156209"/>
                </a:lnTo>
                <a:lnTo>
                  <a:pt x="2722309" y="3185706"/>
                </a:lnTo>
                <a:lnTo>
                  <a:pt x="2727225" y="3159895"/>
                </a:lnTo>
                <a:lnTo>
                  <a:pt x="2852587" y="3185706"/>
                </a:lnTo>
                <a:lnTo>
                  <a:pt x="2856274" y="3163583"/>
                </a:lnTo>
                <a:lnTo>
                  <a:pt x="2982864" y="3185706"/>
                </a:lnTo>
                <a:lnTo>
                  <a:pt x="2985322" y="3167270"/>
                </a:lnTo>
                <a:lnTo>
                  <a:pt x="3111913" y="3185706"/>
                </a:lnTo>
                <a:lnTo>
                  <a:pt x="3113142" y="3169728"/>
                </a:lnTo>
                <a:lnTo>
                  <a:pt x="3240961" y="3185706"/>
                </a:lnTo>
                <a:lnTo>
                  <a:pt x="3242191" y="3173415"/>
                </a:lnTo>
                <a:lnTo>
                  <a:pt x="3371239" y="3185706"/>
                </a:lnTo>
                <a:lnTo>
                  <a:pt x="3372468" y="3175874"/>
                </a:lnTo>
                <a:lnTo>
                  <a:pt x="3501516" y="3185706"/>
                </a:lnTo>
                <a:lnTo>
                  <a:pt x="3501516" y="3178332"/>
                </a:lnTo>
                <a:lnTo>
                  <a:pt x="3630565" y="3185706"/>
                </a:lnTo>
                <a:lnTo>
                  <a:pt x="3630565" y="3180790"/>
                </a:lnTo>
                <a:lnTo>
                  <a:pt x="3639168" y="3180790"/>
                </a:lnTo>
                <a:lnTo>
                  <a:pt x="3719056" y="3183248"/>
                </a:lnTo>
                <a:lnTo>
                  <a:pt x="3719056" y="3184476"/>
                </a:lnTo>
                <a:lnTo>
                  <a:pt x="5703946" y="3226263"/>
                </a:lnTo>
                <a:lnTo>
                  <a:pt x="3719056" y="3226263"/>
                </a:lnTo>
                <a:lnTo>
                  <a:pt x="3720284" y="3228721"/>
                </a:lnTo>
                <a:lnTo>
                  <a:pt x="3602297" y="3226263"/>
                </a:lnTo>
                <a:lnTo>
                  <a:pt x="3602297" y="3229951"/>
                </a:lnTo>
                <a:lnTo>
                  <a:pt x="3484310" y="3226263"/>
                </a:lnTo>
                <a:lnTo>
                  <a:pt x="3484310" y="3232409"/>
                </a:lnTo>
                <a:lnTo>
                  <a:pt x="3366323" y="3226263"/>
                </a:lnTo>
                <a:lnTo>
                  <a:pt x="3366323" y="3234867"/>
                </a:lnTo>
                <a:lnTo>
                  <a:pt x="3248335" y="3226263"/>
                </a:lnTo>
                <a:lnTo>
                  <a:pt x="3248335" y="3237325"/>
                </a:lnTo>
                <a:lnTo>
                  <a:pt x="3131578" y="3226263"/>
                </a:lnTo>
                <a:lnTo>
                  <a:pt x="3130348" y="3241012"/>
                </a:lnTo>
                <a:lnTo>
                  <a:pt x="3011133" y="3226263"/>
                </a:lnTo>
                <a:lnTo>
                  <a:pt x="3009903" y="3243470"/>
                </a:lnTo>
                <a:lnTo>
                  <a:pt x="2893145" y="3226263"/>
                </a:lnTo>
                <a:lnTo>
                  <a:pt x="2890687" y="3247157"/>
                </a:lnTo>
                <a:lnTo>
                  <a:pt x="2775158" y="3226263"/>
                </a:lnTo>
                <a:lnTo>
                  <a:pt x="2771470" y="3249616"/>
                </a:lnTo>
                <a:lnTo>
                  <a:pt x="2657171" y="3226263"/>
                </a:lnTo>
                <a:lnTo>
                  <a:pt x="2652255" y="3253302"/>
                </a:lnTo>
                <a:lnTo>
                  <a:pt x="2539184" y="3226263"/>
                </a:lnTo>
                <a:lnTo>
                  <a:pt x="2533038" y="3256990"/>
                </a:lnTo>
                <a:lnTo>
                  <a:pt x="2421196" y="3226263"/>
                </a:lnTo>
                <a:lnTo>
                  <a:pt x="2413822" y="3261906"/>
                </a:lnTo>
                <a:lnTo>
                  <a:pt x="2303209" y="3226263"/>
                </a:lnTo>
                <a:lnTo>
                  <a:pt x="2293377" y="3265592"/>
                </a:lnTo>
                <a:lnTo>
                  <a:pt x="2185222" y="3226263"/>
                </a:lnTo>
                <a:lnTo>
                  <a:pt x="2172932" y="3270508"/>
                </a:lnTo>
                <a:lnTo>
                  <a:pt x="2067235" y="3226263"/>
                </a:lnTo>
                <a:lnTo>
                  <a:pt x="2051257" y="3275425"/>
                </a:lnTo>
                <a:lnTo>
                  <a:pt x="1949247" y="3226263"/>
                </a:lnTo>
                <a:lnTo>
                  <a:pt x="1929583" y="3279112"/>
                </a:lnTo>
                <a:lnTo>
                  <a:pt x="1831260" y="3226263"/>
                </a:lnTo>
                <a:lnTo>
                  <a:pt x="1806680" y="3284028"/>
                </a:lnTo>
                <a:lnTo>
                  <a:pt x="1713273" y="3226263"/>
                </a:lnTo>
                <a:lnTo>
                  <a:pt x="1683776" y="3287715"/>
                </a:lnTo>
                <a:lnTo>
                  <a:pt x="1595286" y="3226263"/>
                </a:lnTo>
                <a:lnTo>
                  <a:pt x="1559643" y="3290173"/>
                </a:lnTo>
                <a:lnTo>
                  <a:pt x="1686234" y="3378663"/>
                </a:lnTo>
                <a:lnTo>
                  <a:pt x="1719418" y="3318441"/>
                </a:lnTo>
                <a:lnTo>
                  <a:pt x="1816512" y="3378663"/>
                </a:lnTo>
                <a:lnTo>
                  <a:pt x="1843551" y="3323358"/>
                </a:lnTo>
                <a:lnTo>
                  <a:pt x="1938186" y="3386038"/>
                </a:lnTo>
                <a:lnTo>
                  <a:pt x="1960308" y="3334418"/>
                </a:lnTo>
                <a:lnTo>
                  <a:pt x="2068463" y="3386038"/>
                </a:lnTo>
                <a:lnTo>
                  <a:pt x="2085670" y="3339334"/>
                </a:lnTo>
                <a:lnTo>
                  <a:pt x="2197512" y="3386038"/>
                </a:lnTo>
                <a:lnTo>
                  <a:pt x="2211031" y="3343022"/>
                </a:lnTo>
                <a:lnTo>
                  <a:pt x="2326560" y="3386038"/>
                </a:lnTo>
                <a:lnTo>
                  <a:pt x="2337622" y="3347938"/>
                </a:lnTo>
                <a:lnTo>
                  <a:pt x="2456838" y="3386038"/>
                </a:lnTo>
                <a:lnTo>
                  <a:pt x="2465442" y="3351625"/>
                </a:lnTo>
                <a:lnTo>
                  <a:pt x="2587115" y="3386038"/>
                </a:lnTo>
                <a:lnTo>
                  <a:pt x="2593261" y="3356541"/>
                </a:lnTo>
                <a:lnTo>
                  <a:pt x="2716164" y="3386038"/>
                </a:lnTo>
                <a:lnTo>
                  <a:pt x="2721081" y="3360229"/>
                </a:lnTo>
                <a:lnTo>
                  <a:pt x="2846442" y="3386038"/>
                </a:lnTo>
                <a:lnTo>
                  <a:pt x="2850129" y="3363915"/>
                </a:lnTo>
                <a:lnTo>
                  <a:pt x="2976720" y="3386038"/>
                </a:lnTo>
                <a:lnTo>
                  <a:pt x="2979178" y="3367603"/>
                </a:lnTo>
                <a:lnTo>
                  <a:pt x="3105768" y="3386038"/>
                </a:lnTo>
                <a:lnTo>
                  <a:pt x="3106997" y="3370061"/>
                </a:lnTo>
                <a:lnTo>
                  <a:pt x="3234817" y="3386038"/>
                </a:lnTo>
                <a:lnTo>
                  <a:pt x="3236045" y="3373747"/>
                </a:lnTo>
                <a:lnTo>
                  <a:pt x="3365094" y="3386038"/>
                </a:lnTo>
                <a:lnTo>
                  <a:pt x="3366323" y="3376205"/>
                </a:lnTo>
                <a:lnTo>
                  <a:pt x="3495372" y="3386038"/>
                </a:lnTo>
                <a:lnTo>
                  <a:pt x="3495372" y="3378663"/>
                </a:lnTo>
                <a:lnTo>
                  <a:pt x="3624420" y="3386038"/>
                </a:lnTo>
                <a:lnTo>
                  <a:pt x="3624420" y="3381121"/>
                </a:lnTo>
                <a:lnTo>
                  <a:pt x="3633024" y="3381121"/>
                </a:lnTo>
                <a:lnTo>
                  <a:pt x="3712910" y="3383580"/>
                </a:lnTo>
                <a:lnTo>
                  <a:pt x="3712910" y="3384809"/>
                </a:lnTo>
                <a:lnTo>
                  <a:pt x="5733441" y="3426596"/>
                </a:lnTo>
                <a:lnTo>
                  <a:pt x="3712910" y="3426596"/>
                </a:lnTo>
                <a:lnTo>
                  <a:pt x="3712910" y="3427825"/>
                </a:lnTo>
                <a:lnTo>
                  <a:pt x="3594923" y="3425367"/>
                </a:lnTo>
                <a:lnTo>
                  <a:pt x="3594923" y="3429054"/>
                </a:lnTo>
                <a:lnTo>
                  <a:pt x="3476936" y="3425367"/>
                </a:lnTo>
                <a:lnTo>
                  <a:pt x="3476936" y="3431513"/>
                </a:lnTo>
                <a:lnTo>
                  <a:pt x="3358948" y="3425367"/>
                </a:lnTo>
                <a:lnTo>
                  <a:pt x="3358948" y="3433971"/>
                </a:lnTo>
                <a:lnTo>
                  <a:pt x="3240961" y="3425367"/>
                </a:lnTo>
                <a:lnTo>
                  <a:pt x="3240961" y="3436429"/>
                </a:lnTo>
                <a:lnTo>
                  <a:pt x="3122974" y="3425367"/>
                </a:lnTo>
                <a:lnTo>
                  <a:pt x="3121746" y="3440115"/>
                </a:lnTo>
                <a:lnTo>
                  <a:pt x="3003758" y="3425367"/>
                </a:lnTo>
                <a:lnTo>
                  <a:pt x="3002529" y="3442573"/>
                </a:lnTo>
                <a:lnTo>
                  <a:pt x="2885771" y="3425367"/>
                </a:lnTo>
                <a:lnTo>
                  <a:pt x="2883313" y="3446261"/>
                </a:lnTo>
                <a:lnTo>
                  <a:pt x="2767784" y="3425367"/>
                </a:lnTo>
                <a:lnTo>
                  <a:pt x="2764096" y="3449947"/>
                </a:lnTo>
                <a:lnTo>
                  <a:pt x="2649797" y="3425367"/>
                </a:lnTo>
                <a:lnTo>
                  <a:pt x="2644881" y="3452405"/>
                </a:lnTo>
                <a:lnTo>
                  <a:pt x="2531809" y="3425367"/>
                </a:lnTo>
                <a:lnTo>
                  <a:pt x="2525664" y="3457322"/>
                </a:lnTo>
                <a:lnTo>
                  <a:pt x="2413822" y="3425367"/>
                </a:lnTo>
                <a:lnTo>
                  <a:pt x="2406448" y="3461009"/>
                </a:lnTo>
                <a:lnTo>
                  <a:pt x="2295835" y="3425367"/>
                </a:lnTo>
                <a:lnTo>
                  <a:pt x="2286003" y="3464696"/>
                </a:lnTo>
                <a:lnTo>
                  <a:pt x="2177848" y="3425367"/>
                </a:lnTo>
                <a:lnTo>
                  <a:pt x="2165557" y="3469612"/>
                </a:lnTo>
                <a:lnTo>
                  <a:pt x="2059860" y="3425367"/>
                </a:lnTo>
                <a:lnTo>
                  <a:pt x="2043882" y="3474528"/>
                </a:lnTo>
                <a:lnTo>
                  <a:pt x="1941873" y="3425367"/>
                </a:lnTo>
                <a:lnTo>
                  <a:pt x="1922209" y="3478216"/>
                </a:lnTo>
                <a:lnTo>
                  <a:pt x="1823886" y="3425367"/>
                </a:lnTo>
                <a:lnTo>
                  <a:pt x="1799305" y="3483132"/>
                </a:lnTo>
                <a:lnTo>
                  <a:pt x="1705899" y="3425367"/>
                </a:lnTo>
                <a:lnTo>
                  <a:pt x="1676402" y="3488048"/>
                </a:lnTo>
                <a:lnTo>
                  <a:pt x="1587912" y="3425367"/>
                </a:lnTo>
                <a:lnTo>
                  <a:pt x="1555303" y="3483837"/>
                </a:lnTo>
                <a:lnTo>
                  <a:pt x="1476069" y="3420451"/>
                </a:lnTo>
                <a:lnTo>
                  <a:pt x="1439198" y="3479444"/>
                </a:lnTo>
                <a:lnTo>
                  <a:pt x="1555957" y="3572851"/>
                </a:lnTo>
                <a:lnTo>
                  <a:pt x="1591188" y="3516482"/>
                </a:lnTo>
                <a:lnTo>
                  <a:pt x="1678860" y="3577767"/>
                </a:lnTo>
                <a:lnTo>
                  <a:pt x="1712043" y="3517545"/>
                </a:lnTo>
                <a:lnTo>
                  <a:pt x="1809138" y="3577767"/>
                </a:lnTo>
                <a:lnTo>
                  <a:pt x="1836176" y="3522461"/>
                </a:lnTo>
                <a:lnTo>
                  <a:pt x="1939415" y="3577767"/>
                </a:lnTo>
                <a:lnTo>
                  <a:pt x="1961538" y="3526147"/>
                </a:lnTo>
                <a:lnTo>
                  <a:pt x="2069693" y="3577767"/>
                </a:lnTo>
                <a:lnTo>
                  <a:pt x="2086899" y="3531064"/>
                </a:lnTo>
                <a:lnTo>
                  <a:pt x="2198741" y="3577767"/>
                </a:lnTo>
                <a:lnTo>
                  <a:pt x="2212261" y="3534751"/>
                </a:lnTo>
                <a:lnTo>
                  <a:pt x="2327790" y="3577767"/>
                </a:lnTo>
                <a:lnTo>
                  <a:pt x="2338851" y="3539667"/>
                </a:lnTo>
                <a:lnTo>
                  <a:pt x="2458067" y="3577767"/>
                </a:lnTo>
                <a:lnTo>
                  <a:pt x="2466670" y="3543354"/>
                </a:lnTo>
                <a:lnTo>
                  <a:pt x="2588345" y="3577767"/>
                </a:lnTo>
                <a:lnTo>
                  <a:pt x="2594490" y="3548270"/>
                </a:lnTo>
                <a:lnTo>
                  <a:pt x="2717393" y="3577767"/>
                </a:lnTo>
                <a:lnTo>
                  <a:pt x="2722309" y="3551958"/>
                </a:lnTo>
                <a:lnTo>
                  <a:pt x="2847670" y="3577767"/>
                </a:lnTo>
                <a:lnTo>
                  <a:pt x="2851358" y="3555644"/>
                </a:lnTo>
                <a:lnTo>
                  <a:pt x="2977948" y="3577767"/>
                </a:lnTo>
                <a:lnTo>
                  <a:pt x="2980406" y="3559332"/>
                </a:lnTo>
                <a:lnTo>
                  <a:pt x="3106997" y="3577767"/>
                </a:lnTo>
                <a:lnTo>
                  <a:pt x="3108226" y="3561790"/>
                </a:lnTo>
                <a:lnTo>
                  <a:pt x="3236045" y="3577767"/>
                </a:lnTo>
                <a:lnTo>
                  <a:pt x="3237275" y="3565477"/>
                </a:lnTo>
                <a:lnTo>
                  <a:pt x="3366323" y="3577767"/>
                </a:lnTo>
                <a:lnTo>
                  <a:pt x="3367552" y="3567935"/>
                </a:lnTo>
                <a:lnTo>
                  <a:pt x="3496600" y="3577767"/>
                </a:lnTo>
                <a:lnTo>
                  <a:pt x="3496600" y="3570393"/>
                </a:lnTo>
                <a:lnTo>
                  <a:pt x="3625649" y="3577767"/>
                </a:lnTo>
                <a:lnTo>
                  <a:pt x="3625649" y="3572851"/>
                </a:lnTo>
                <a:lnTo>
                  <a:pt x="3634252" y="3572851"/>
                </a:lnTo>
                <a:lnTo>
                  <a:pt x="3714140" y="3575309"/>
                </a:lnTo>
                <a:lnTo>
                  <a:pt x="3714140" y="3576538"/>
                </a:lnTo>
                <a:lnTo>
                  <a:pt x="5530652" y="3610951"/>
                </a:lnTo>
                <a:lnTo>
                  <a:pt x="3715368" y="3610951"/>
                </a:lnTo>
                <a:lnTo>
                  <a:pt x="3715368" y="3613409"/>
                </a:lnTo>
                <a:lnTo>
                  <a:pt x="3597381" y="3610951"/>
                </a:lnTo>
                <a:lnTo>
                  <a:pt x="3597381" y="3614638"/>
                </a:lnTo>
                <a:lnTo>
                  <a:pt x="3479394" y="3610951"/>
                </a:lnTo>
                <a:lnTo>
                  <a:pt x="3479394" y="3617096"/>
                </a:lnTo>
                <a:lnTo>
                  <a:pt x="3361406" y="3610951"/>
                </a:lnTo>
                <a:lnTo>
                  <a:pt x="3361406" y="3619554"/>
                </a:lnTo>
                <a:lnTo>
                  <a:pt x="3243419" y="3610951"/>
                </a:lnTo>
                <a:lnTo>
                  <a:pt x="3243419" y="3622012"/>
                </a:lnTo>
                <a:lnTo>
                  <a:pt x="3125432" y="3610951"/>
                </a:lnTo>
                <a:lnTo>
                  <a:pt x="3124204" y="3625700"/>
                </a:lnTo>
                <a:lnTo>
                  <a:pt x="3006216" y="3610951"/>
                </a:lnTo>
                <a:lnTo>
                  <a:pt x="3004987" y="3628158"/>
                </a:lnTo>
                <a:lnTo>
                  <a:pt x="2888229" y="3610951"/>
                </a:lnTo>
                <a:lnTo>
                  <a:pt x="2885771" y="3631844"/>
                </a:lnTo>
                <a:lnTo>
                  <a:pt x="2770242" y="3610951"/>
                </a:lnTo>
                <a:lnTo>
                  <a:pt x="2766554" y="3635532"/>
                </a:lnTo>
                <a:lnTo>
                  <a:pt x="2652255" y="3610951"/>
                </a:lnTo>
                <a:lnTo>
                  <a:pt x="2647339" y="3637990"/>
                </a:lnTo>
                <a:lnTo>
                  <a:pt x="2534268" y="3610951"/>
                </a:lnTo>
                <a:lnTo>
                  <a:pt x="2528122" y="3642906"/>
                </a:lnTo>
                <a:lnTo>
                  <a:pt x="2416280" y="3610951"/>
                </a:lnTo>
                <a:lnTo>
                  <a:pt x="2408906" y="3646593"/>
                </a:lnTo>
                <a:lnTo>
                  <a:pt x="2298293" y="3610951"/>
                </a:lnTo>
                <a:lnTo>
                  <a:pt x="2288461" y="3650280"/>
                </a:lnTo>
                <a:lnTo>
                  <a:pt x="2180306" y="3610951"/>
                </a:lnTo>
                <a:lnTo>
                  <a:pt x="2168015" y="3655197"/>
                </a:lnTo>
                <a:lnTo>
                  <a:pt x="2062319" y="3610951"/>
                </a:lnTo>
                <a:lnTo>
                  <a:pt x="2046340" y="3660113"/>
                </a:lnTo>
                <a:lnTo>
                  <a:pt x="1944331" y="3610951"/>
                </a:lnTo>
                <a:lnTo>
                  <a:pt x="1924667" y="3663799"/>
                </a:lnTo>
                <a:lnTo>
                  <a:pt x="1826344" y="3610951"/>
                </a:lnTo>
                <a:lnTo>
                  <a:pt x="1801763" y="3668715"/>
                </a:lnTo>
                <a:lnTo>
                  <a:pt x="1708357" y="3610951"/>
                </a:lnTo>
                <a:lnTo>
                  <a:pt x="1678860" y="3673631"/>
                </a:lnTo>
                <a:lnTo>
                  <a:pt x="1590370" y="3610951"/>
                </a:lnTo>
                <a:lnTo>
                  <a:pt x="1556054" y="3672481"/>
                </a:lnTo>
                <a:lnTo>
                  <a:pt x="1476069" y="3608493"/>
                </a:lnTo>
                <a:lnTo>
                  <a:pt x="1439198" y="3667487"/>
                </a:lnTo>
                <a:lnTo>
                  <a:pt x="1555957" y="3760894"/>
                </a:lnTo>
                <a:lnTo>
                  <a:pt x="1592828" y="3701900"/>
                </a:lnTo>
                <a:lnTo>
                  <a:pt x="1588815" y="3698689"/>
                </a:lnTo>
                <a:lnTo>
                  <a:pt x="1681318" y="3763352"/>
                </a:lnTo>
                <a:lnTo>
                  <a:pt x="1714501" y="3703128"/>
                </a:lnTo>
                <a:lnTo>
                  <a:pt x="1811596" y="3763352"/>
                </a:lnTo>
                <a:lnTo>
                  <a:pt x="1838634" y="3708044"/>
                </a:lnTo>
                <a:lnTo>
                  <a:pt x="1941873" y="3763352"/>
                </a:lnTo>
                <a:lnTo>
                  <a:pt x="1963996" y="3711732"/>
                </a:lnTo>
                <a:lnTo>
                  <a:pt x="2072151" y="3763352"/>
                </a:lnTo>
                <a:lnTo>
                  <a:pt x="2089357" y="3716648"/>
                </a:lnTo>
                <a:lnTo>
                  <a:pt x="2201199" y="3763352"/>
                </a:lnTo>
                <a:lnTo>
                  <a:pt x="2214719" y="3720335"/>
                </a:lnTo>
                <a:lnTo>
                  <a:pt x="2330248" y="3763352"/>
                </a:lnTo>
                <a:lnTo>
                  <a:pt x="2341309" y="3725251"/>
                </a:lnTo>
                <a:lnTo>
                  <a:pt x="2460525" y="3763352"/>
                </a:lnTo>
                <a:lnTo>
                  <a:pt x="2469128" y="3728939"/>
                </a:lnTo>
                <a:lnTo>
                  <a:pt x="2590803" y="3763352"/>
                </a:lnTo>
                <a:lnTo>
                  <a:pt x="2596948" y="3733855"/>
                </a:lnTo>
                <a:lnTo>
                  <a:pt x="2719851" y="3763352"/>
                </a:lnTo>
                <a:lnTo>
                  <a:pt x="2724767" y="3737541"/>
                </a:lnTo>
                <a:lnTo>
                  <a:pt x="2850129" y="3763352"/>
                </a:lnTo>
                <a:lnTo>
                  <a:pt x="2853816" y="3741229"/>
                </a:lnTo>
                <a:lnTo>
                  <a:pt x="2980406" y="3763352"/>
                </a:lnTo>
                <a:lnTo>
                  <a:pt x="2982864" y="3744915"/>
                </a:lnTo>
                <a:lnTo>
                  <a:pt x="3109455" y="3763352"/>
                </a:lnTo>
                <a:lnTo>
                  <a:pt x="3110684" y="3747373"/>
                </a:lnTo>
                <a:lnTo>
                  <a:pt x="3238503" y="3763352"/>
                </a:lnTo>
                <a:lnTo>
                  <a:pt x="3239733" y="3751061"/>
                </a:lnTo>
                <a:lnTo>
                  <a:pt x="3368781" y="3763352"/>
                </a:lnTo>
                <a:lnTo>
                  <a:pt x="3370010" y="3753519"/>
                </a:lnTo>
                <a:lnTo>
                  <a:pt x="3499058" y="3763352"/>
                </a:lnTo>
                <a:lnTo>
                  <a:pt x="3499058" y="3755977"/>
                </a:lnTo>
                <a:lnTo>
                  <a:pt x="3628107" y="3763352"/>
                </a:lnTo>
                <a:lnTo>
                  <a:pt x="3628107" y="3759664"/>
                </a:lnTo>
                <a:lnTo>
                  <a:pt x="3636710" y="3759664"/>
                </a:lnTo>
                <a:lnTo>
                  <a:pt x="3716598" y="3762122"/>
                </a:lnTo>
                <a:lnTo>
                  <a:pt x="3716598" y="3763352"/>
                </a:lnTo>
                <a:lnTo>
                  <a:pt x="5577355" y="3802681"/>
                </a:lnTo>
                <a:lnTo>
                  <a:pt x="3716598" y="3802681"/>
                </a:lnTo>
                <a:lnTo>
                  <a:pt x="3717826" y="3805139"/>
                </a:lnTo>
                <a:lnTo>
                  <a:pt x="3599839" y="3802681"/>
                </a:lnTo>
                <a:lnTo>
                  <a:pt x="3599839" y="3806367"/>
                </a:lnTo>
                <a:lnTo>
                  <a:pt x="3481852" y="3802681"/>
                </a:lnTo>
                <a:lnTo>
                  <a:pt x="3481852" y="3808825"/>
                </a:lnTo>
                <a:lnTo>
                  <a:pt x="3363865" y="3802681"/>
                </a:lnTo>
                <a:lnTo>
                  <a:pt x="3363865" y="3811283"/>
                </a:lnTo>
                <a:lnTo>
                  <a:pt x="3245877" y="3802681"/>
                </a:lnTo>
                <a:lnTo>
                  <a:pt x="3245877" y="3813741"/>
                </a:lnTo>
                <a:lnTo>
                  <a:pt x="3127890" y="3802681"/>
                </a:lnTo>
                <a:lnTo>
                  <a:pt x="3126662" y="3817429"/>
                </a:lnTo>
                <a:lnTo>
                  <a:pt x="3008674" y="3802681"/>
                </a:lnTo>
                <a:lnTo>
                  <a:pt x="3007445" y="3819887"/>
                </a:lnTo>
                <a:lnTo>
                  <a:pt x="2890687" y="3802681"/>
                </a:lnTo>
                <a:lnTo>
                  <a:pt x="2888229" y="3823574"/>
                </a:lnTo>
                <a:lnTo>
                  <a:pt x="2772700" y="3802681"/>
                </a:lnTo>
                <a:lnTo>
                  <a:pt x="2769012" y="3826032"/>
                </a:lnTo>
                <a:lnTo>
                  <a:pt x="2654713" y="3802681"/>
                </a:lnTo>
                <a:lnTo>
                  <a:pt x="2649797" y="3829719"/>
                </a:lnTo>
                <a:lnTo>
                  <a:pt x="2536726" y="3802681"/>
                </a:lnTo>
                <a:lnTo>
                  <a:pt x="2530580" y="3833406"/>
                </a:lnTo>
                <a:lnTo>
                  <a:pt x="2418738" y="3802681"/>
                </a:lnTo>
                <a:lnTo>
                  <a:pt x="2411364" y="3838322"/>
                </a:lnTo>
                <a:lnTo>
                  <a:pt x="2300751" y="3802681"/>
                </a:lnTo>
                <a:lnTo>
                  <a:pt x="2290919" y="3842010"/>
                </a:lnTo>
                <a:lnTo>
                  <a:pt x="2182764" y="3802681"/>
                </a:lnTo>
                <a:lnTo>
                  <a:pt x="2170474" y="3846926"/>
                </a:lnTo>
                <a:lnTo>
                  <a:pt x="2064777" y="3802681"/>
                </a:lnTo>
                <a:lnTo>
                  <a:pt x="2048799" y="3851842"/>
                </a:lnTo>
                <a:lnTo>
                  <a:pt x="1946789" y="3802681"/>
                </a:lnTo>
                <a:lnTo>
                  <a:pt x="1927125" y="3855528"/>
                </a:lnTo>
                <a:lnTo>
                  <a:pt x="1828802" y="3802681"/>
                </a:lnTo>
                <a:lnTo>
                  <a:pt x="1804221" y="3860445"/>
                </a:lnTo>
                <a:lnTo>
                  <a:pt x="1710815" y="3802681"/>
                </a:lnTo>
                <a:lnTo>
                  <a:pt x="1681318" y="3864132"/>
                </a:lnTo>
                <a:lnTo>
                  <a:pt x="1592828" y="3802681"/>
                </a:lnTo>
                <a:lnTo>
                  <a:pt x="1557754" y="3865570"/>
                </a:lnTo>
                <a:lnTo>
                  <a:pt x="1476069" y="3800223"/>
                </a:lnTo>
                <a:lnTo>
                  <a:pt x="1439198" y="3859216"/>
                </a:lnTo>
                <a:lnTo>
                  <a:pt x="1555957" y="3952623"/>
                </a:lnTo>
                <a:lnTo>
                  <a:pt x="1592828" y="3893629"/>
                </a:lnTo>
                <a:lnTo>
                  <a:pt x="1571795" y="3876803"/>
                </a:lnTo>
                <a:lnTo>
                  <a:pt x="1683776" y="3955081"/>
                </a:lnTo>
                <a:lnTo>
                  <a:pt x="1716959" y="3894858"/>
                </a:lnTo>
                <a:lnTo>
                  <a:pt x="1814054" y="3955081"/>
                </a:lnTo>
                <a:lnTo>
                  <a:pt x="1841092" y="3899774"/>
                </a:lnTo>
                <a:lnTo>
                  <a:pt x="1944331" y="3955081"/>
                </a:lnTo>
                <a:lnTo>
                  <a:pt x="1966454" y="3903461"/>
                </a:lnTo>
                <a:lnTo>
                  <a:pt x="2074609" y="3955081"/>
                </a:lnTo>
                <a:lnTo>
                  <a:pt x="2091815" y="3908378"/>
                </a:lnTo>
                <a:lnTo>
                  <a:pt x="2203657" y="3955081"/>
                </a:lnTo>
                <a:lnTo>
                  <a:pt x="2217177" y="3912064"/>
                </a:lnTo>
                <a:lnTo>
                  <a:pt x="2332706" y="3955081"/>
                </a:lnTo>
                <a:lnTo>
                  <a:pt x="2343767" y="3916980"/>
                </a:lnTo>
                <a:lnTo>
                  <a:pt x="2462984" y="3955081"/>
                </a:lnTo>
                <a:lnTo>
                  <a:pt x="2471586" y="3920668"/>
                </a:lnTo>
                <a:lnTo>
                  <a:pt x="2593261" y="3955081"/>
                </a:lnTo>
                <a:lnTo>
                  <a:pt x="2599406" y="3925584"/>
                </a:lnTo>
                <a:lnTo>
                  <a:pt x="2722309" y="3955081"/>
                </a:lnTo>
                <a:lnTo>
                  <a:pt x="2727225" y="3929270"/>
                </a:lnTo>
                <a:lnTo>
                  <a:pt x="2851358" y="3955081"/>
                </a:lnTo>
                <a:lnTo>
                  <a:pt x="2855045" y="3932958"/>
                </a:lnTo>
                <a:lnTo>
                  <a:pt x="2981636" y="3955081"/>
                </a:lnTo>
                <a:lnTo>
                  <a:pt x="2984094" y="3936645"/>
                </a:lnTo>
                <a:lnTo>
                  <a:pt x="3110684" y="3955081"/>
                </a:lnTo>
                <a:lnTo>
                  <a:pt x="3111913" y="3939103"/>
                </a:lnTo>
                <a:lnTo>
                  <a:pt x="3239733" y="3955081"/>
                </a:lnTo>
                <a:lnTo>
                  <a:pt x="3240961" y="3942790"/>
                </a:lnTo>
                <a:lnTo>
                  <a:pt x="3370010" y="3955081"/>
                </a:lnTo>
                <a:lnTo>
                  <a:pt x="3371239" y="3945249"/>
                </a:lnTo>
                <a:lnTo>
                  <a:pt x="3500288" y="3955081"/>
                </a:lnTo>
                <a:lnTo>
                  <a:pt x="3500288" y="3947707"/>
                </a:lnTo>
                <a:lnTo>
                  <a:pt x="3629336" y="3955081"/>
                </a:lnTo>
                <a:lnTo>
                  <a:pt x="3629336" y="3950165"/>
                </a:lnTo>
                <a:lnTo>
                  <a:pt x="3637940" y="3950165"/>
                </a:lnTo>
                <a:lnTo>
                  <a:pt x="3717826" y="3952623"/>
                </a:lnTo>
                <a:lnTo>
                  <a:pt x="3717826" y="3953851"/>
                </a:lnTo>
                <a:lnTo>
                  <a:pt x="5794893" y="3996868"/>
                </a:lnTo>
                <a:lnTo>
                  <a:pt x="3719056" y="3996868"/>
                </a:lnTo>
                <a:lnTo>
                  <a:pt x="3719056" y="3999326"/>
                </a:lnTo>
                <a:lnTo>
                  <a:pt x="3601069" y="3996868"/>
                </a:lnTo>
                <a:lnTo>
                  <a:pt x="3601069" y="4000554"/>
                </a:lnTo>
                <a:lnTo>
                  <a:pt x="3483081" y="3996868"/>
                </a:lnTo>
                <a:lnTo>
                  <a:pt x="3483081" y="4003012"/>
                </a:lnTo>
                <a:lnTo>
                  <a:pt x="3365094" y="3996868"/>
                </a:lnTo>
                <a:lnTo>
                  <a:pt x="3365094" y="4005471"/>
                </a:lnTo>
                <a:lnTo>
                  <a:pt x="3247107" y="3996868"/>
                </a:lnTo>
                <a:lnTo>
                  <a:pt x="3247107" y="4007929"/>
                </a:lnTo>
                <a:lnTo>
                  <a:pt x="3129120" y="3996868"/>
                </a:lnTo>
                <a:lnTo>
                  <a:pt x="3127890" y="4011616"/>
                </a:lnTo>
                <a:lnTo>
                  <a:pt x="3009903" y="3998096"/>
                </a:lnTo>
                <a:lnTo>
                  <a:pt x="3008674" y="4015303"/>
                </a:lnTo>
                <a:lnTo>
                  <a:pt x="2891916" y="3998096"/>
                </a:lnTo>
                <a:lnTo>
                  <a:pt x="2889458" y="4018991"/>
                </a:lnTo>
                <a:lnTo>
                  <a:pt x="2773928" y="3998096"/>
                </a:lnTo>
                <a:lnTo>
                  <a:pt x="2770242" y="4022677"/>
                </a:lnTo>
                <a:lnTo>
                  <a:pt x="2655941" y="3998096"/>
                </a:lnTo>
                <a:lnTo>
                  <a:pt x="2651025" y="4025135"/>
                </a:lnTo>
                <a:lnTo>
                  <a:pt x="2537954" y="3998096"/>
                </a:lnTo>
                <a:lnTo>
                  <a:pt x="2531809" y="4028823"/>
                </a:lnTo>
                <a:lnTo>
                  <a:pt x="2419967" y="3998096"/>
                </a:lnTo>
                <a:lnTo>
                  <a:pt x="2412593" y="4033739"/>
                </a:lnTo>
                <a:lnTo>
                  <a:pt x="2301980" y="3998096"/>
                </a:lnTo>
                <a:lnTo>
                  <a:pt x="2292147" y="4037425"/>
                </a:lnTo>
                <a:lnTo>
                  <a:pt x="2183992" y="3998096"/>
                </a:lnTo>
                <a:lnTo>
                  <a:pt x="2171702" y="4042342"/>
                </a:lnTo>
                <a:lnTo>
                  <a:pt x="2066005" y="3998096"/>
                </a:lnTo>
                <a:lnTo>
                  <a:pt x="2050028" y="4047258"/>
                </a:lnTo>
                <a:lnTo>
                  <a:pt x="1948018" y="3998096"/>
                </a:lnTo>
                <a:lnTo>
                  <a:pt x="1928353" y="4050945"/>
                </a:lnTo>
                <a:lnTo>
                  <a:pt x="1830031" y="3998096"/>
                </a:lnTo>
                <a:lnTo>
                  <a:pt x="1805450" y="4055862"/>
                </a:lnTo>
                <a:lnTo>
                  <a:pt x="1712043" y="3998096"/>
                </a:lnTo>
                <a:lnTo>
                  <a:pt x="1682547" y="4060778"/>
                </a:lnTo>
                <a:lnTo>
                  <a:pt x="1594056" y="3998096"/>
                </a:lnTo>
                <a:lnTo>
                  <a:pt x="1559643" y="4060778"/>
                </a:lnTo>
                <a:lnTo>
                  <a:pt x="1476069" y="3993180"/>
                </a:lnTo>
                <a:lnTo>
                  <a:pt x="1439198" y="4052174"/>
                </a:lnTo>
                <a:lnTo>
                  <a:pt x="1441656" y="4054632"/>
                </a:lnTo>
                <a:lnTo>
                  <a:pt x="1440428" y="4057090"/>
                </a:lnTo>
                <a:lnTo>
                  <a:pt x="1557185" y="4150497"/>
                </a:lnTo>
                <a:lnTo>
                  <a:pt x="1594056" y="4091503"/>
                </a:lnTo>
                <a:lnTo>
                  <a:pt x="1591598" y="4090275"/>
                </a:lnTo>
                <a:lnTo>
                  <a:pt x="1592828" y="4087816"/>
                </a:lnTo>
                <a:lnTo>
                  <a:pt x="1580537" y="4077984"/>
                </a:lnTo>
                <a:lnTo>
                  <a:pt x="1686234" y="4151726"/>
                </a:lnTo>
                <a:lnTo>
                  <a:pt x="1719418" y="4091503"/>
                </a:lnTo>
                <a:lnTo>
                  <a:pt x="1816512" y="4151726"/>
                </a:lnTo>
                <a:lnTo>
                  <a:pt x="1843551" y="4096419"/>
                </a:lnTo>
                <a:lnTo>
                  <a:pt x="1946789" y="4151726"/>
                </a:lnTo>
                <a:lnTo>
                  <a:pt x="1968912" y="4100107"/>
                </a:lnTo>
                <a:lnTo>
                  <a:pt x="2077067" y="4151726"/>
                </a:lnTo>
                <a:lnTo>
                  <a:pt x="2094273" y="4105023"/>
                </a:lnTo>
                <a:lnTo>
                  <a:pt x="2206115" y="4151726"/>
                </a:lnTo>
                <a:lnTo>
                  <a:pt x="2219635" y="4108709"/>
                </a:lnTo>
                <a:lnTo>
                  <a:pt x="2335164" y="4151726"/>
                </a:lnTo>
                <a:lnTo>
                  <a:pt x="2346225" y="4113625"/>
                </a:lnTo>
                <a:lnTo>
                  <a:pt x="2465442" y="4151726"/>
                </a:lnTo>
                <a:lnTo>
                  <a:pt x="2474044" y="4117313"/>
                </a:lnTo>
                <a:lnTo>
                  <a:pt x="2595719" y="4151726"/>
                </a:lnTo>
                <a:lnTo>
                  <a:pt x="2601864" y="4122229"/>
                </a:lnTo>
                <a:lnTo>
                  <a:pt x="2724767" y="4151726"/>
                </a:lnTo>
                <a:lnTo>
                  <a:pt x="2729683" y="4125916"/>
                </a:lnTo>
                <a:lnTo>
                  <a:pt x="2853816" y="4151726"/>
                </a:lnTo>
                <a:lnTo>
                  <a:pt x="2857503" y="4129604"/>
                </a:lnTo>
                <a:lnTo>
                  <a:pt x="2984094" y="4151726"/>
                </a:lnTo>
                <a:lnTo>
                  <a:pt x="2986552" y="4133290"/>
                </a:lnTo>
                <a:lnTo>
                  <a:pt x="3113142" y="4151726"/>
                </a:lnTo>
                <a:lnTo>
                  <a:pt x="3114371" y="4135748"/>
                </a:lnTo>
                <a:lnTo>
                  <a:pt x="3242191" y="4151726"/>
                </a:lnTo>
                <a:lnTo>
                  <a:pt x="3243419" y="4139436"/>
                </a:lnTo>
                <a:lnTo>
                  <a:pt x="3372468" y="4151726"/>
                </a:lnTo>
                <a:lnTo>
                  <a:pt x="3373697" y="4141894"/>
                </a:lnTo>
                <a:lnTo>
                  <a:pt x="3502746" y="4151726"/>
                </a:lnTo>
                <a:lnTo>
                  <a:pt x="3502746" y="4144352"/>
                </a:lnTo>
                <a:lnTo>
                  <a:pt x="3631794" y="4151726"/>
                </a:lnTo>
                <a:lnTo>
                  <a:pt x="3631794" y="4146810"/>
                </a:lnTo>
                <a:lnTo>
                  <a:pt x="3640398" y="4146810"/>
                </a:lnTo>
                <a:lnTo>
                  <a:pt x="3720284" y="4149268"/>
                </a:lnTo>
                <a:lnTo>
                  <a:pt x="3720284" y="4150497"/>
                </a:lnTo>
                <a:lnTo>
                  <a:pt x="5696570" y="4195972"/>
                </a:lnTo>
                <a:lnTo>
                  <a:pt x="3720284" y="4191055"/>
                </a:lnTo>
                <a:lnTo>
                  <a:pt x="3720284" y="4193513"/>
                </a:lnTo>
                <a:lnTo>
                  <a:pt x="3602297" y="4191055"/>
                </a:lnTo>
                <a:lnTo>
                  <a:pt x="3602297" y="4194742"/>
                </a:lnTo>
                <a:lnTo>
                  <a:pt x="3484310" y="4191055"/>
                </a:lnTo>
                <a:lnTo>
                  <a:pt x="3484310" y="4197200"/>
                </a:lnTo>
                <a:lnTo>
                  <a:pt x="3366323" y="4191055"/>
                </a:lnTo>
                <a:lnTo>
                  <a:pt x="3366323" y="4199658"/>
                </a:lnTo>
                <a:lnTo>
                  <a:pt x="3248335" y="4191055"/>
                </a:lnTo>
                <a:lnTo>
                  <a:pt x="3248335" y="4202116"/>
                </a:lnTo>
                <a:lnTo>
                  <a:pt x="3130348" y="4191055"/>
                </a:lnTo>
                <a:lnTo>
                  <a:pt x="3129120" y="4205804"/>
                </a:lnTo>
                <a:lnTo>
                  <a:pt x="3011133" y="4191055"/>
                </a:lnTo>
                <a:lnTo>
                  <a:pt x="3009903" y="4208262"/>
                </a:lnTo>
                <a:lnTo>
                  <a:pt x="2893145" y="4191055"/>
                </a:lnTo>
                <a:lnTo>
                  <a:pt x="2890687" y="4211948"/>
                </a:lnTo>
                <a:lnTo>
                  <a:pt x="2775158" y="4191055"/>
                </a:lnTo>
                <a:lnTo>
                  <a:pt x="2771470" y="4215636"/>
                </a:lnTo>
                <a:lnTo>
                  <a:pt x="2657171" y="4191055"/>
                </a:lnTo>
                <a:lnTo>
                  <a:pt x="2652255" y="4218094"/>
                </a:lnTo>
                <a:lnTo>
                  <a:pt x="2539184" y="4191055"/>
                </a:lnTo>
                <a:lnTo>
                  <a:pt x="2533038" y="4223010"/>
                </a:lnTo>
                <a:lnTo>
                  <a:pt x="2421196" y="4191055"/>
                </a:lnTo>
                <a:lnTo>
                  <a:pt x="2413822" y="4226697"/>
                </a:lnTo>
                <a:lnTo>
                  <a:pt x="2303209" y="4191055"/>
                </a:lnTo>
                <a:lnTo>
                  <a:pt x="2293377" y="4230384"/>
                </a:lnTo>
                <a:lnTo>
                  <a:pt x="2185222" y="4191055"/>
                </a:lnTo>
                <a:lnTo>
                  <a:pt x="2172932" y="4235301"/>
                </a:lnTo>
                <a:lnTo>
                  <a:pt x="2067235" y="4191055"/>
                </a:lnTo>
                <a:lnTo>
                  <a:pt x="2051257" y="4240217"/>
                </a:lnTo>
                <a:lnTo>
                  <a:pt x="1949247" y="4191055"/>
                </a:lnTo>
                <a:lnTo>
                  <a:pt x="1929583" y="4243903"/>
                </a:lnTo>
                <a:lnTo>
                  <a:pt x="1831260" y="4191055"/>
                </a:lnTo>
                <a:lnTo>
                  <a:pt x="1806680" y="4248819"/>
                </a:lnTo>
                <a:lnTo>
                  <a:pt x="1713273" y="4191055"/>
                </a:lnTo>
                <a:lnTo>
                  <a:pt x="1683776" y="4253735"/>
                </a:lnTo>
                <a:lnTo>
                  <a:pt x="1595286" y="4191055"/>
                </a:lnTo>
                <a:lnTo>
                  <a:pt x="1559643" y="4254965"/>
                </a:lnTo>
                <a:lnTo>
                  <a:pt x="1685005" y="4343456"/>
                </a:lnTo>
                <a:lnTo>
                  <a:pt x="1718189" y="4283232"/>
                </a:lnTo>
                <a:lnTo>
                  <a:pt x="1815282" y="4343456"/>
                </a:lnTo>
                <a:lnTo>
                  <a:pt x="1842321" y="4288148"/>
                </a:lnTo>
                <a:lnTo>
                  <a:pt x="1945560" y="4343456"/>
                </a:lnTo>
                <a:lnTo>
                  <a:pt x="1967682" y="4291836"/>
                </a:lnTo>
                <a:lnTo>
                  <a:pt x="2075837" y="4343456"/>
                </a:lnTo>
                <a:lnTo>
                  <a:pt x="2093044" y="4296752"/>
                </a:lnTo>
                <a:lnTo>
                  <a:pt x="2204887" y="4343456"/>
                </a:lnTo>
                <a:lnTo>
                  <a:pt x="2218405" y="4300439"/>
                </a:lnTo>
                <a:lnTo>
                  <a:pt x="2333934" y="4343456"/>
                </a:lnTo>
                <a:lnTo>
                  <a:pt x="2344996" y="4305355"/>
                </a:lnTo>
                <a:lnTo>
                  <a:pt x="2464212" y="4343456"/>
                </a:lnTo>
                <a:lnTo>
                  <a:pt x="2472816" y="4309043"/>
                </a:lnTo>
                <a:lnTo>
                  <a:pt x="2593261" y="4343456"/>
                </a:lnTo>
                <a:lnTo>
                  <a:pt x="2598177" y="4315187"/>
                </a:lnTo>
                <a:lnTo>
                  <a:pt x="2721081" y="4344684"/>
                </a:lnTo>
                <a:lnTo>
                  <a:pt x="2725997" y="4318875"/>
                </a:lnTo>
                <a:lnTo>
                  <a:pt x="2851358" y="4344684"/>
                </a:lnTo>
                <a:lnTo>
                  <a:pt x="2855045" y="4322561"/>
                </a:lnTo>
                <a:lnTo>
                  <a:pt x="2981636" y="4344684"/>
                </a:lnTo>
                <a:lnTo>
                  <a:pt x="2984094" y="4326249"/>
                </a:lnTo>
                <a:lnTo>
                  <a:pt x="3110684" y="4344684"/>
                </a:lnTo>
                <a:lnTo>
                  <a:pt x="3113142" y="4328707"/>
                </a:lnTo>
                <a:lnTo>
                  <a:pt x="3240961" y="4344684"/>
                </a:lnTo>
                <a:lnTo>
                  <a:pt x="3242191" y="4332394"/>
                </a:lnTo>
                <a:lnTo>
                  <a:pt x="3371239" y="4344684"/>
                </a:lnTo>
                <a:lnTo>
                  <a:pt x="3372468" y="4334852"/>
                </a:lnTo>
                <a:lnTo>
                  <a:pt x="3501516" y="4344684"/>
                </a:lnTo>
                <a:lnTo>
                  <a:pt x="3501516" y="4337310"/>
                </a:lnTo>
                <a:lnTo>
                  <a:pt x="3630565" y="4344684"/>
                </a:lnTo>
                <a:lnTo>
                  <a:pt x="3630565" y="4339768"/>
                </a:lnTo>
                <a:lnTo>
                  <a:pt x="3639168" y="4339768"/>
                </a:lnTo>
                <a:lnTo>
                  <a:pt x="3719056" y="4342226"/>
                </a:lnTo>
                <a:lnTo>
                  <a:pt x="3719056" y="4343456"/>
                </a:lnTo>
                <a:lnTo>
                  <a:pt x="5728527" y="4387701"/>
                </a:lnTo>
                <a:lnTo>
                  <a:pt x="3712910" y="4387701"/>
                </a:lnTo>
                <a:lnTo>
                  <a:pt x="3712910" y="4388929"/>
                </a:lnTo>
                <a:lnTo>
                  <a:pt x="3594923" y="4386471"/>
                </a:lnTo>
                <a:lnTo>
                  <a:pt x="3594923" y="4390159"/>
                </a:lnTo>
                <a:lnTo>
                  <a:pt x="3476936" y="4386471"/>
                </a:lnTo>
                <a:lnTo>
                  <a:pt x="3476936" y="4392617"/>
                </a:lnTo>
                <a:lnTo>
                  <a:pt x="3358948" y="4386471"/>
                </a:lnTo>
                <a:lnTo>
                  <a:pt x="3358948" y="4395075"/>
                </a:lnTo>
                <a:lnTo>
                  <a:pt x="3240961" y="4386471"/>
                </a:lnTo>
                <a:lnTo>
                  <a:pt x="3240961" y="4397533"/>
                </a:lnTo>
                <a:lnTo>
                  <a:pt x="3122974" y="4386471"/>
                </a:lnTo>
                <a:lnTo>
                  <a:pt x="3121746" y="4401219"/>
                </a:lnTo>
                <a:lnTo>
                  <a:pt x="3003758" y="4386471"/>
                </a:lnTo>
                <a:lnTo>
                  <a:pt x="3002529" y="4403678"/>
                </a:lnTo>
                <a:lnTo>
                  <a:pt x="2885771" y="4386471"/>
                </a:lnTo>
                <a:lnTo>
                  <a:pt x="2883313" y="4407365"/>
                </a:lnTo>
                <a:lnTo>
                  <a:pt x="2767784" y="4386471"/>
                </a:lnTo>
                <a:lnTo>
                  <a:pt x="2764096" y="4409823"/>
                </a:lnTo>
                <a:lnTo>
                  <a:pt x="2649797" y="4386471"/>
                </a:lnTo>
                <a:lnTo>
                  <a:pt x="2644881" y="4413510"/>
                </a:lnTo>
                <a:lnTo>
                  <a:pt x="2531809" y="4386471"/>
                </a:lnTo>
                <a:lnTo>
                  <a:pt x="2525664" y="4417198"/>
                </a:lnTo>
                <a:lnTo>
                  <a:pt x="2413822" y="4386471"/>
                </a:lnTo>
                <a:lnTo>
                  <a:pt x="2406448" y="4422114"/>
                </a:lnTo>
                <a:lnTo>
                  <a:pt x="2295835" y="4386471"/>
                </a:lnTo>
                <a:lnTo>
                  <a:pt x="2286003" y="4425800"/>
                </a:lnTo>
                <a:lnTo>
                  <a:pt x="2177848" y="4386471"/>
                </a:lnTo>
                <a:lnTo>
                  <a:pt x="2165557" y="4430716"/>
                </a:lnTo>
                <a:lnTo>
                  <a:pt x="2059860" y="4386471"/>
                </a:lnTo>
                <a:lnTo>
                  <a:pt x="2043882" y="4435632"/>
                </a:lnTo>
                <a:lnTo>
                  <a:pt x="1941873" y="4386471"/>
                </a:lnTo>
                <a:lnTo>
                  <a:pt x="1922209" y="4439320"/>
                </a:lnTo>
                <a:lnTo>
                  <a:pt x="1823886" y="4386471"/>
                </a:lnTo>
                <a:lnTo>
                  <a:pt x="1799305" y="4444236"/>
                </a:lnTo>
                <a:lnTo>
                  <a:pt x="1705899" y="4386471"/>
                </a:lnTo>
                <a:lnTo>
                  <a:pt x="1676402" y="4447923"/>
                </a:lnTo>
                <a:lnTo>
                  <a:pt x="1587912" y="4386471"/>
                </a:lnTo>
                <a:lnTo>
                  <a:pt x="1554260" y="4446812"/>
                </a:lnTo>
                <a:lnTo>
                  <a:pt x="1477299" y="4385243"/>
                </a:lnTo>
                <a:lnTo>
                  <a:pt x="1440428" y="4444236"/>
                </a:lnTo>
                <a:lnTo>
                  <a:pt x="1557185" y="4537643"/>
                </a:lnTo>
                <a:lnTo>
                  <a:pt x="1593646" y="4479305"/>
                </a:lnTo>
                <a:lnTo>
                  <a:pt x="1678860" y="4538871"/>
                </a:lnTo>
                <a:lnTo>
                  <a:pt x="1712043" y="4478649"/>
                </a:lnTo>
                <a:lnTo>
                  <a:pt x="1809138" y="4538871"/>
                </a:lnTo>
                <a:lnTo>
                  <a:pt x="1836176" y="4483565"/>
                </a:lnTo>
                <a:lnTo>
                  <a:pt x="1939415" y="4538871"/>
                </a:lnTo>
                <a:lnTo>
                  <a:pt x="1961538" y="4487252"/>
                </a:lnTo>
                <a:lnTo>
                  <a:pt x="2069693" y="4538871"/>
                </a:lnTo>
                <a:lnTo>
                  <a:pt x="2086899" y="4492168"/>
                </a:lnTo>
                <a:lnTo>
                  <a:pt x="2198741" y="4538871"/>
                </a:lnTo>
                <a:lnTo>
                  <a:pt x="2212261" y="4495856"/>
                </a:lnTo>
                <a:lnTo>
                  <a:pt x="2327790" y="4538871"/>
                </a:lnTo>
                <a:lnTo>
                  <a:pt x="2338851" y="4500772"/>
                </a:lnTo>
                <a:lnTo>
                  <a:pt x="2458067" y="4538871"/>
                </a:lnTo>
                <a:lnTo>
                  <a:pt x="2466670" y="4504458"/>
                </a:lnTo>
                <a:lnTo>
                  <a:pt x="2588345" y="4538871"/>
                </a:lnTo>
                <a:lnTo>
                  <a:pt x="2594490" y="4509374"/>
                </a:lnTo>
                <a:lnTo>
                  <a:pt x="2717393" y="4538871"/>
                </a:lnTo>
                <a:lnTo>
                  <a:pt x="2722309" y="4513062"/>
                </a:lnTo>
                <a:lnTo>
                  <a:pt x="2847670" y="4538871"/>
                </a:lnTo>
                <a:lnTo>
                  <a:pt x="2851358" y="4516749"/>
                </a:lnTo>
                <a:lnTo>
                  <a:pt x="2977948" y="4538871"/>
                </a:lnTo>
                <a:lnTo>
                  <a:pt x="2980406" y="4520436"/>
                </a:lnTo>
                <a:lnTo>
                  <a:pt x="3106997" y="4538871"/>
                </a:lnTo>
                <a:lnTo>
                  <a:pt x="3108226" y="4522894"/>
                </a:lnTo>
                <a:lnTo>
                  <a:pt x="3236045" y="4538871"/>
                </a:lnTo>
                <a:lnTo>
                  <a:pt x="3237275" y="4526581"/>
                </a:lnTo>
                <a:lnTo>
                  <a:pt x="3366323" y="4538871"/>
                </a:lnTo>
                <a:lnTo>
                  <a:pt x="3367552" y="4529039"/>
                </a:lnTo>
                <a:lnTo>
                  <a:pt x="3496600" y="4538871"/>
                </a:lnTo>
                <a:lnTo>
                  <a:pt x="3496600" y="4531497"/>
                </a:lnTo>
                <a:lnTo>
                  <a:pt x="3625649" y="4538871"/>
                </a:lnTo>
                <a:lnTo>
                  <a:pt x="3625649" y="4533955"/>
                </a:lnTo>
                <a:lnTo>
                  <a:pt x="3634252" y="4533955"/>
                </a:lnTo>
                <a:lnTo>
                  <a:pt x="3714140" y="4536413"/>
                </a:lnTo>
                <a:lnTo>
                  <a:pt x="3714140" y="4537643"/>
                </a:lnTo>
                <a:lnTo>
                  <a:pt x="5699030" y="4579430"/>
                </a:lnTo>
                <a:lnTo>
                  <a:pt x="3714140" y="4579430"/>
                </a:lnTo>
                <a:lnTo>
                  <a:pt x="3714140" y="4581888"/>
                </a:lnTo>
                <a:lnTo>
                  <a:pt x="3596153" y="4579430"/>
                </a:lnTo>
                <a:lnTo>
                  <a:pt x="3596153" y="4583116"/>
                </a:lnTo>
                <a:lnTo>
                  <a:pt x="3478165" y="4579430"/>
                </a:lnTo>
                <a:lnTo>
                  <a:pt x="3478165" y="4585575"/>
                </a:lnTo>
                <a:lnTo>
                  <a:pt x="3360178" y="4579430"/>
                </a:lnTo>
                <a:lnTo>
                  <a:pt x="3360178" y="4588033"/>
                </a:lnTo>
                <a:lnTo>
                  <a:pt x="3242191" y="4579430"/>
                </a:lnTo>
                <a:lnTo>
                  <a:pt x="3242191" y="4590491"/>
                </a:lnTo>
                <a:lnTo>
                  <a:pt x="3124204" y="4579430"/>
                </a:lnTo>
                <a:lnTo>
                  <a:pt x="3122974" y="4594178"/>
                </a:lnTo>
                <a:lnTo>
                  <a:pt x="3004987" y="4579430"/>
                </a:lnTo>
                <a:lnTo>
                  <a:pt x="3003758" y="4596636"/>
                </a:lnTo>
                <a:lnTo>
                  <a:pt x="2887000" y="4579430"/>
                </a:lnTo>
                <a:lnTo>
                  <a:pt x="2884541" y="4600323"/>
                </a:lnTo>
                <a:lnTo>
                  <a:pt x="2769012" y="4579430"/>
                </a:lnTo>
                <a:lnTo>
                  <a:pt x="2765326" y="4602781"/>
                </a:lnTo>
                <a:lnTo>
                  <a:pt x="2651025" y="4579430"/>
                </a:lnTo>
                <a:lnTo>
                  <a:pt x="2646109" y="4606469"/>
                </a:lnTo>
                <a:lnTo>
                  <a:pt x="2533038" y="4579430"/>
                </a:lnTo>
                <a:lnTo>
                  <a:pt x="2526893" y="4610155"/>
                </a:lnTo>
                <a:lnTo>
                  <a:pt x="2415051" y="4579430"/>
                </a:lnTo>
                <a:lnTo>
                  <a:pt x="2407676" y="4615071"/>
                </a:lnTo>
                <a:lnTo>
                  <a:pt x="2297063" y="4579430"/>
                </a:lnTo>
                <a:lnTo>
                  <a:pt x="2287231" y="4618759"/>
                </a:lnTo>
                <a:lnTo>
                  <a:pt x="2179076" y="4579430"/>
                </a:lnTo>
                <a:lnTo>
                  <a:pt x="2166786" y="4623675"/>
                </a:lnTo>
                <a:lnTo>
                  <a:pt x="2061089" y="4579430"/>
                </a:lnTo>
                <a:lnTo>
                  <a:pt x="2045112" y="4628591"/>
                </a:lnTo>
                <a:lnTo>
                  <a:pt x="1943102" y="4579430"/>
                </a:lnTo>
                <a:lnTo>
                  <a:pt x="1923437" y="4632278"/>
                </a:lnTo>
                <a:lnTo>
                  <a:pt x="1825114" y="4579430"/>
                </a:lnTo>
                <a:lnTo>
                  <a:pt x="1800534" y="4637194"/>
                </a:lnTo>
                <a:lnTo>
                  <a:pt x="1707127" y="4579430"/>
                </a:lnTo>
                <a:lnTo>
                  <a:pt x="1677630" y="4642110"/>
                </a:lnTo>
                <a:lnTo>
                  <a:pt x="1589140" y="4580658"/>
                </a:lnTo>
                <a:lnTo>
                  <a:pt x="1554636" y="4642529"/>
                </a:lnTo>
                <a:lnTo>
                  <a:pt x="1477299" y="4580658"/>
                </a:lnTo>
                <a:lnTo>
                  <a:pt x="1440428" y="4639652"/>
                </a:lnTo>
                <a:lnTo>
                  <a:pt x="1557185" y="4733059"/>
                </a:lnTo>
                <a:lnTo>
                  <a:pt x="1594056" y="4674065"/>
                </a:lnTo>
                <a:lnTo>
                  <a:pt x="1582707" y="4664986"/>
                </a:lnTo>
                <a:lnTo>
                  <a:pt x="1680088" y="4733059"/>
                </a:lnTo>
                <a:lnTo>
                  <a:pt x="1713273" y="4672837"/>
                </a:lnTo>
                <a:lnTo>
                  <a:pt x="1810366" y="4733059"/>
                </a:lnTo>
                <a:lnTo>
                  <a:pt x="1837405" y="4677753"/>
                </a:lnTo>
                <a:lnTo>
                  <a:pt x="1940644" y="4733059"/>
                </a:lnTo>
                <a:lnTo>
                  <a:pt x="1962766" y="4681439"/>
                </a:lnTo>
                <a:lnTo>
                  <a:pt x="2070921" y="4733059"/>
                </a:lnTo>
                <a:lnTo>
                  <a:pt x="2088128" y="4686355"/>
                </a:lnTo>
                <a:lnTo>
                  <a:pt x="2199970" y="4733059"/>
                </a:lnTo>
                <a:lnTo>
                  <a:pt x="2213489" y="4690043"/>
                </a:lnTo>
                <a:lnTo>
                  <a:pt x="2329018" y="4733059"/>
                </a:lnTo>
                <a:lnTo>
                  <a:pt x="2340080" y="4694959"/>
                </a:lnTo>
                <a:lnTo>
                  <a:pt x="2459296" y="4733059"/>
                </a:lnTo>
                <a:lnTo>
                  <a:pt x="2467900" y="4698646"/>
                </a:lnTo>
                <a:lnTo>
                  <a:pt x="2589573" y="4733059"/>
                </a:lnTo>
                <a:lnTo>
                  <a:pt x="2595719" y="4703562"/>
                </a:lnTo>
                <a:lnTo>
                  <a:pt x="2718623" y="4733059"/>
                </a:lnTo>
                <a:lnTo>
                  <a:pt x="2723539" y="4707249"/>
                </a:lnTo>
                <a:lnTo>
                  <a:pt x="2848900" y="4733059"/>
                </a:lnTo>
                <a:lnTo>
                  <a:pt x="2852587" y="4710936"/>
                </a:lnTo>
                <a:lnTo>
                  <a:pt x="2979178" y="4733059"/>
                </a:lnTo>
                <a:lnTo>
                  <a:pt x="2981636" y="4714624"/>
                </a:lnTo>
                <a:lnTo>
                  <a:pt x="3108226" y="4733059"/>
                </a:lnTo>
                <a:lnTo>
                  <a:pt x="3109455" y="4717082"/>
                </a:lnTo>
                <a:lnTo>
                  <a:pt x="3237275" y="4733059"/>
                </a:lnTo>
                <a:lnTo>
                  <a:pt x="3238503" y="4720768"/>
                </a:lnTo>
                <a:lnTo>
                  <a:pt x="3367552" y="4733059"/>
                </a:lnTo>
                <a:lnTo>
                  <a:pt x="3368781" y="4723226"/>
                </a:lnTo>
                <a:lnTo>
                  <a:pt x="3497830" y="4733059"/>
                </a:lnTo>
                <a:lnTo>
                  <a:pt x="3497830" y="4725684"/>
                </a:lnTo>
                <a:lnTo>
                  <a:pt x="3626878" y="4733059"/>
                </a:lnTo>
                <a:lnTo>
                  <a:pt x="3626878" y="4728142"/>
                </a:lnTo>
                <a:lnTo>
                  <a:pt x="3635482" y="4728142"/>
                </a:lnTo>
                <a:lnTo>
                  <a:pt x="3715368" y="4730600"/>
                </a:lnTo>
                <a:lnTo>
                  <a:pt x="3715368" y="4731830"/>
                </a:lnTo>
                <a:lnTo>
                  <a:pt x="5694112" y="4773617"/>
                </a:lnTo>
                <a:lnTo>
                  <a:pt x="3715368" y="4773617"/>
                </a:lnTo>
                <a:lnTo>
                  <a:pt x="3715368" y="4776075"/>
                </a:lnTo>
                <a:lnTo>
                  <a:pt x="3597381" y="4773617"/>
                </a:lnTo>
                <a:lnTo>
                  <a:pt x="3597381" y="4777304"/>
                </a:lnTo>
                <a:lnTo>
                  <a:pt x="3479394" y="4773617"/>
                </a:lnTo>
                <a:lnTo>
                  <a:pt x="3479394" y="4779762"/>
                </a:lnTo>
                <a:lnTo>
                  <a:pt x="3361406" y="4773617"/>
                </a:lnTo>
                <a:lnTo>
                  <a:pt x="3361406" y="4782220"/>
                </a:lnTo>
                <a:lnTo>
                  <a:pt x="3243419" y="4773617"/>
                </a:lnTo>
                <a:lnTo>
                  <a:pt x="3243419" y="4789594"/>
                </a:lnTo>
                <a:lnTo>
                  <a:pt x="3126662" y="4778533"/>
                </a:lnTo>
                <a:lnTo>
                  <a:pt x="3125432" y="4793282"/>
                </a:lnTo>
                <a:lnTo>
                  <a:pt x="3007445" y="4778533"/>
                </a:lnTo>
                <a:lnTo>
                  <a:pt x="3006216" y="4795740"/>
                </a:lnTo>
                <a:lnTo>
                  <a:pt x="2889458" y="4778533"/>
                </a:lnTo>
                <a:lnTo>
                  <a:pt x="2887000" y="4799426"/>
                </a:lnTo>
                <a:lnTo>
                  <a:pt x="2771470" y="4778533"/>
                </a:lnTo>
                <a:lnTo>
                  <a:pt x="2767784" y="4801884"/>
                </a:lnTo>
                <a:lnTo>
                  <a:pt x="2653483" y="4778533"/>
                </a:lnTo>
                <a:lnTo>
                  <a:pt x="2648567" y="4805572"/>
                </a:lnTo>
                <a:lnTo>
                  <a:pt x="2535496" y="4778533"/>
                </a:lnTo>
                <a:lnTo>
                  <a:pt x="2529351" y="4809259"/>
                </a:lnTo>
                <a:lnTo>
                  <a:pt x="2417509" y="4778533"/>
                </a:lnTo>
                <a:lnTo>
                  <a:pt x="2410134" y="4814175"/>
                </a:lnTo>
                <a:lnTo>
                  <a:pt x="2299521" y="4778533"/>
                </a:lnTo>
                <a:lnTo>
                  <a:pt x="2289689" y="4817863"/>
                </a:lnTo>
                <a:lnTo>
                  <a:pt x="2181534" y="4778533"/>
                </a:lnTo>
                <a:lnTo>
                  <a:pt x="2169244" y="4822779"/>
                </a:lnTo>
                <a:lnTo>
                  <a:pt x="2063547" y="4778533"/>
                </a:lnTo>
                <a:lnTo>
                  <a:pt x="2047570" y="4827695"/>
                </a:lnTo>
                <a:lnTo>
                  <a:pt x="1945560" y="4778533"/>
                </a:lnTo>
                <a:lnTo>
                  <a:pt x="1925895" y="4832611"/>
                </a:lnTo>
                <a:lnTo>
                  <a:pt x="1827572" y="4778533"/>
                </a:lnTo>
                <a:lnTo>
                  <a:pt x="1802992" y="4836297"/>
                </a:lnTo>
                <a:lnTo>
                  <a:pt x="1709585" y="4778533"/>
                </a:lnTo>
                <a:lnTo>
                  <a:pt x="1680088" y="4841213"/>
                </a:lnTo>
                <a:lnTo>
                  <a:pt x="1591598" y="4778533"/>
                </a:lnTo>
                <a:lnTo>
                  <a:pt x="1557758" y="4839214"/>
                </a:lnTo>
                <a:lnTo>
                  <a:pt x="1477299" y="4774846"/>
                </a:lnTo>
                <a:lnTo>
                  <a:pt x="1440428" y="4833839"/>
                </a:lnTo>
                <a:lnTo>
                  <a:pt x="1557185" y="4927246"/>
                </a:lnTo>
                <a:lnTo>
                  <a:pt x="1593698" y="4868825"/>
                </a:lnTo>
                <a:lnTo>
                  <a:pt x="1682547" y="4930934"/>
                </a:lnTo>
                <a:lnTo>
                  <a:pt x="1715731" y="4870710"/>
                </a:lnTo>
                <a:lnTo>
                  <a:pt x="1812824" y="4930934"/>
                </a:lnTo>
                <a:lnTo>
                  <a:pt x="1839863" y="4875626"/>
                </a:lnTo>
                <a:lnTo>
                  <a:pt x="1943102" y="4930934"/>
                </a:lnTo>
                <a:lnTo>
                  <a:pt x="1965224" y="4879314"/>
                </a:lnTo>
                <a:lnTo>
                  <a:pt x="2073379" y="4930934"/>
                </a:lnTo>
                <a:lnTo>
                  <a:pt x="2090586" y="4884230"/>
                </a:lnTo>
                <a:lnTo>
                  <a:pt x="2202428" y="4930934"/>
                </a:lnTo>
                <a:lnTo>
                  <a:pt x="2215947" y="4887917"/>
                </a:lnTo>
                <a:lnTo>
                  <a:pt x="2331476" y="4930934"/>
                </a:lnTo>
                <a:lnTo>
                  <a:pt x="2342538" y="4892833"/>
                </a:lnTo>
                <a:lnTo>
                  <a:pt x="2461754" y="4930934"/>
                </a:lnTo>
                <a:lnTo>
                  <a:pt x="2470358" y="4896521"/>
                </a:lnTo>
                <a:lnTo>
                  <a:pt x="2590803" y="4930934"/>
                </a:lnTo>
                <a:lnTo>
                  <a:pt x="2596948" y="4901437"/>
                </a:lnTo>
                <a:lnTo>
                  <a:pt x="2719851" y="4930934"/>
                </a:lnTo>
                <a:lnTo>
                  <a:pt x="2724767" y="4905123"/>
                </a:lnTo>
                <a:lnTo>
                  <a:pt x="2850129" y="4930934"/>
                </a:lnTo>
                <a:lnTo>
                  <a:pt x="2853816" y="4908811"/>
                </a:lnTo>
                <a:lnTo>
                  <a:pt x="2980406" y="4930934"/>
                </a:lnTo>
                <a:lnTo>
                  <a:pt x="2982864" y="4912497"/>
                </a:lnTo>
                <a:lnTo>
                  <a:pt x="3109455" y="4930934"/>
                </a:lnTo>
                <a:lnTo>
                  <a:pt x="3110684" y="4914956"/>
                </a:lnTo>
                <a:lnTo>
                  <a:pt x="3238503" y="4930934"/>
                </a:lnTo>
                <a:lnTo>
                  <a:pt x="3239733" y="4918643"/>
                </a:lnTo>
                <a:lnTo>
                  <a:pt x="3368781" y="4930934"/>
                </a:lnTo>
                <a:lnTo>
                  <a:pt x="3370010" y="4921101"/>
                </a:lnTo>
                <a:lnTo>
                  <a:pt x="3499058" y="4930934"/>
                </a:lnTo>
                <a:lnTo>
                  <a:pt x="3499058" y="4923559"/>
                </a:lnTo>
                <a:lnTo>
                  <a:pt x="3628107" y="4930934"/>
                </a:lnTo>
                <a:lnTo>
                  <a:pt x="3628107" y="4926017"/>
                </a:lnTo>
                <a:lnTo>
                  <a:pt x="3636710" y="4926017"/>
                </a:lnTo>
                <a:lnTo>
                  <a:pt x="3716598" y="4928476"/>
                </a:lnTo>
                <a:lnTo>
                  <a:pt x="3716598" y="4929704"/>
                </a:lnTo>
                <a:lnTo>
                  <a:pt x="5721151" y="4971491"/>
                </a:lnTo>
                <a:lnTo>
                  <a:pt x="3717826" y="4971491"/>
                </a:lnTo>
                <a:lnTo>
                  <a:pt x="3717826" y="4972721"/>
                </a:lnTo>
                <a:lnTo>
                  <a:pt x="3599839" y="4970263"/>
                </a:lnTo>
                <a:lnTo>
                  <a:pt x="3599839" y="4973949"/>
                </a:lnTo>
                <a:lnTo>
                  <a:pt x="3481852" y="4970263"/>
                </a:lnTo>
                <a:lnTo>
                  <a:pt x="3481852" y="4976407"/>
                </a:lnTo>
                <a:lnTo>
                  <a:pt x="3363865" y="4970263"/>
                </a:lnTo>
                <a:lnTo>
                  <a:pt x="3363865" y="4978865"/>
                </a:lnTo>
                <a:lnTo>
                  <a:pt x="3245877" y="4970263"/>
                </a:lnTo>
                <a:lnTo>
                  <a:pt x="3245877" y="4981323"/>
                </a:lnTo>
                <a:lnTo>
                  <a:pt x="3127890" y="4970263"/>
                </a:lnTo>
                <a:lnTo>
                  <a:pt x="3126662" y="4985011"/>
                </a:lnTo>
                <a:lnTo>
                  <a:pt x="3008674" y="4970263"/>
                </a:lnTo>
                <a:lnTo>
                  <a:pt x="3007445" y="4987469"/>
                </a:lnTo>
                <a:lnTo>
                  <a:pt x="2890687" y="4970263"/>
                </a:lnTo>
                <a:lnTo>
                  <a:pt x="2888229" y="4991156"/>
                </a:lnTo>
                <a:lnTo>
                  <a:pt x="2772700" y="4970263"/>
                </a:lnTo>
                <a:lnTo>
                  <a:pt x="2769012" y="4994843"/>
                </a:lnTo>
                <a:lnTo>
                  <a:pt x="2654713" y="4970263"/>
                </a:lnTo>
                <a:lnTo>
                  <a:pt x="2649797" y="4997301"/>
                </a:lnTo>
                <a:lnTo>
                  <a:pt x="2536726" y="4970263"/>
                </a:lnTo>
                <a:lnTo>
                  <a:pt x="2530580" y="5002218"/>
                </a:lnTo>
                <a:lnTo>
                  <a:pt x="2418738" y="4970263"/>
                </a:lnTo>
                <a:lnTo>
                  <a:pt x="2411364" y="5005904"/>
                </a:lnTo>
                <a:lnTo>
                  <a:pt x="2300751" y="4970263"/>
                </a:lnTo>
                <a:lnTo>
                  <a:pt x="2290919" y="5009592"/>
                </a:lnTo>
                <a:lnTo>
                  <a:pt x="2182764" y="4970263"/>
                </a:lnTo>
                <a:lnTo>
                  <a:pt x="2170474" y="5014508"/>
                </a:lnTo>
                <a:lnTo>
                  <a:pt x="2064777" y="4970263"/>
                </a:lnTo>
                <a:lnTo>
                  <a:pt x="2048799" y="5019424"/>
                </a:lnTo>
                <a:lnTo>
                  <a:pt x="1946789" y="4970263"/>
                </a:lnTo>
                <a:lnTo>
                  <a:pt x="1927125" y="5023110"/>
                </a:lnTo>
                <a:lnTo>
                  <a:pt x="1828802" y="4970263"/>
                </a:lnTo>
                <a:lnTo>
                  <a:pt x="1804221" y="5028027"/>
                </a:lnTo>
                <a:lnTo>
                  <a:pt x="1710815" y="4970263"/>
                </a:lnTo>
                <a:lnTo>
                  <a:pt x="1681318" y="5032943"/>
                </a:lnTo>
                <a:lnTo>
                  <a:pt x="1592828" y="4970263"/>
                </a:lnTo>
                <a:lnTo>
                  <a:pt x="1557659" y="5033322"/>
                </a:lnTo>
                <a:lnTo>
                  <a:pt x="1477299" y="4969033"/>
                </a:lnTo>
                <a:lnTo>
                  <a:pt x="1440428" y="5028027"/>
                </a:lnTo>
                <a:lnTo>
                  <a:pt x="1557185" y="5121433"/>
                </a:lnTo>
                <a:lnTo>
                  <a:pt x="1594056" y="5062440"/>
                </a:lnTo>
                <a:lnTo>
                  <a:pt x="1569358" y="5042682"/>
                </a:lnTo>
                <a:lnTo>
                  <a:pt x="1683776" y="5122663"/>
                </a:lnTo>
                <a:lnTo>
                  <a:pt x="1716959" y="5062440"/>
                </a:lnTo>
                <a:lnTo>
                  <a:pt x="1814054" y="5122663"/>
                </a:lnTo>
                <a:lnTo>
                  <a:pt x="1841092" y="5067356"/>
                </a:lnTo>
                <a:lnTo>
                  <a:pt x="1944331" y="5122663"/>
                </a:lnTo>
                <a:lnTo>
                  <a:pt x="1966454" y="5071043"/>
                </a:lnTo>
                <a:lnTo>
                  <a:pt x="2074609" y="5122663"/>
                </a:lnTo>
                <a:lnTo>
                  <a:pt x="2091815" y="5075960"/>
                </a:lnTo>
                <a:lnTo>
                  <a:pt x="2203657" y="5122663"/>
                </a:lnTo>
                <a:lnTo>
                  <a:pt x="2217177" y="5079646"/>
                </a:lnTo>
                <a:lnTo>
                  <a:pt x="2332706" y="5122663"/>
                </a:lnTo>
                <a:lnTo>
                  <a:pt x="2343767" y="5084562"/>
                </a:lnTo>
                <a:lnTo>
                  <a:pt x="2462984" y="5122663"/>
                </a:lnTo>
                <a:lnTo>
                  <a:pt x="2471586" y="5088250"/>
                </a:lnTo>
                <a:lnTo>
                  <a:pt x="2593261" y="5122663"/>
                </a:lnTo>
                <a:lnTo>
                  <a:pt x="2599406" y="5093166"/>
                </a:lnTo>
                <a:lnTo>
                  <a:pt x="2722309" y="5122663"/>
                </a:lnTo>
                <a:lnTo>
                  <a:pt x="2727225" y="5096852"/>
                </a:lnTo>
                <a:lnTo>
                  <a:pt x="2852587" y="5122663"/>
                </a:lnTo>
                <a:lnTo>
                  <a:pt x="2856274" y="5100540"/>
                </a:lnTo>
                <a:lnTo>
                  <a:pt x="2982864" y="5122663"/>
                </a:lnTo>
                <a:lnTo>
                  <a:pt x="2985322" y="5104227"/>
                </a:lnTo>
                <a:lnTo>
                  <a:pt x="3111913" y="5122663"/>
                </a:lnTo>
                <a:lnTo>
                  <a:pt x="3113142" y="5106685"/>
                </a:lnTo>
                <a:lnTo>
                  <a:pt x="3240961" y="5122663"/>
                </a:lnTo>
                <a:lnTo>
                  <a:pt x="3242191" y="5110372"/>
                </a:lnTo>
                <a:lnTo>
                  <a:pt x="3371239" y="5122663"/>
                </a:lnTo>
                <a:lnTo>
                  <a:pt x="3372468" y="5112831"/>
                </a:lnTo>
                <a:lnTo>
                  <a:pt x="3501516" y="5122663"/>
                </a:lnTo>
                <a:lnTo>
                  <a:pt x="3501516" y="5115289"/>
                </a:lnTo>
                <a:lnTo>
                  <a:pt x="3630565" y="5122663"/>
                </a:lnTo>
                <a:lnTo>
                  <a:pt x="3630565" y="5117747"/>
                </a:lnTo>
                <a:lnTo>
                  <a:pt x="3639168" y="5117747"/>
                </a:lnTo>
                <a:lnTo>
                  <a:pt x="3719056" y="5120205"/>
                </a:lnTo>
                <a:lnTo>
                  <a:pt x="3719056" y="5121433"/>
                </a:lnTo>
                <a:lnTo>
                  <a:pt x="5716236" y="5163220"/>
                </a:lnTo>
                <a:lnTo>
                  <a:pt x="3719056" y="5163220"/>
                </a:lnTo>
                <a:lnTo>
                  <a:pt x="3719056" y="5165678"/>
                </a:lnTo>
                <a:lnTo>
                  <a:pt x="3601069" y="5163220"/>
                </a:lnTo>
                <a:lnTo>
                  <a:pt x="3601069" y="5166908"/>
                </a:lnTo>
                <a:lnTo>
                  <a:pt x="3483081" y="5163220"/>
                </a:lnTo>
                <a:lnTo>
                  <a:pt x="3483081" y="5169366"/>
                </a:lnTo>
                <a:lnTo>
                  <a:pt x="3365094" y="5163220"/>
                </a:lnTo>
                <a:lnTo>
                  <a:pt x="3365094" y="5171824"/>
                </a:lnTo>
                <a:lnTo>
                  <a:pt x="3247107" y="5163220"/>
                </a:lnTo>
                <a:lnTo>
                  <a:pt x="3247107" y="5174282"/>
                </a:lnTo>
                <a:lnTo>
                  <a:pt x="3129120" y="5163220"/>
                </a:lnTo>
                <a:lnTo>
                  <a:pt x="3127890" y="5177969"/>
                </a:lnTo>
                <a:lnTo>
                  <a:pt x="3009903" y="5163220"/>
                </a:lnTo>
                <a:lnTo>
                  <a:pt x="3008674" y="5180427"/>
                </a:lnTo>
                <a:lnTo>
                  <a:pt x="2891916" y="5163220"/>
                </a:lnTo>
                <a:lnTo>
                  <a:pt x="2889458" y="5184115"/>
                </a:lnTo>
                <a:lnTo>
                  <a:pt x="2773928" y="5163220"/>
                </a:lnTo>
                <a:lnTo>
                  <a:pt x="2770242" y="5187801"/>
                </a:lnTo>
                <a:lnTo>
                  <a:pt x="2655941" y="5163220"/>
                </a:lnTo>
                <a:lnTo>
                  <a:pt x="2651025" y="5190259"/>
                </a:lnTo>
                <a:lnTo>
                  <a:pt x="2537954" y="5163220"/>
                </a:lnTo>
                <a:lnTo>
                  <a:pt x="2531809" y="5195175"/>
                </a:lnTo>
                <a:lnTo>
                  <a:pt x="2419967" y="5163220"/>
                </a:lnTo>
                <a:lnTo>
                  <a:pt x="2412593" y="5198863"/>
                </a:lnTo>
                <a:lnTo>
                  <a:pt x="2301980" y="5163220"/>
                </a:lnTo>
                <a:lnTo>
                  <a:pt x="2292147" y="5202549"/>
                </a:lnTo>
                <a:lnTo>
                  <a:pt x="2183992" y="5163220"/>
                </a:lnTo>
                <a:lnTo>
                  <a:pt x="2171702" y="5207466"/>
                </a:lnTo>
                <a:lnTo>
                  <a:pt x="2066005" y="5163220"/>
                </a:lnTo>
                <a:lnTo>
                  <a:pt x="2050028" y="5212382"/>
                </a:lnTo>
                <a:lnTo>
                  <a:pt x="1948018" y="5163220"/>
                </a:lnTo>
                <a:lnTo>
                  <a:pt x="1928353" y="5216069"/>
                </a:lnTo>
                <a:lnTo>
                  <a:pt x="1830031" y="5163220"/>
                </a:lnTo>
                <a:lnTo>
                  <a:pt x="1805450" y="5220986"/>
                </a:lnTo>
                <a:lnTo>
                  <a:pt x="1712043" y="5163220"/>
                </a:lnTo>
                <a:lnTo>
                  <a:pt x="1682547" y="5225902"/>
                </a:lnTo>
                <a:lnTo>
                  <a:pt x="1594056" y="5163220"/>
                </a:lnTo>
                <a:lnTo>
                  <a:pt x="1558415" y="5227130"/>
                </a:lnTo>
                <a:lnTo>
                  <a:pt x="1685005" y="5315620"/>
                </a:lnTo>
                <a:lnTo>
                  <a:pt x="1718189" y="5255398"/>
                </a:lnTo>
                <a:lnTo>
                  <a:pt x="1815282" y="5315620"/>
                </a:lnTo>
                <a:lnTo>
                  <a:pt x="1842321" y="5260315"/>
                </a:lnTo>
                <a:lnTo>
                  <a:pt x="1945560" y="5315620"/>
                </a:lnTo>
                <a:lnTo>
                  <a:pt x="1967682" y="5264001"/>
                </a:lnTo>
                <a:lnTo>
                  <a:pt x="2075837" y="5315620"/>
                </a:lnTo>
                <a:lnTo>
                  <a:pt x="2093044" y="5268917"/>
                </a:lnTo>
                <a:lnTo>
                  <a:pt x="2204887" y="5315620"/>
                </a:lnTo>
                <a:lnTo>
                  <a:pt x="2218405" y="5272605"/>
                </a:lnTo>
                <a:lnTo>
                  <a:pt x="2333934" y="5315620"/>
                </a:lnTo>
                <a:lnTo>
                  <a:pt x="2344996" y="5277521"/>
                </a:lnTo>
                <a:lnTo>
                  <a:pt x="2464212" y="5315620"/>
                </a:lnTo>
                <a:lnTo>
                  <a:pt x="2472816" y="5281208"/>
                </a:lnTo>
                <a:lnTo>
                  <a:pt x="2594490" y="5315620"/>
                </a:lnTo>
                <a:lnTo>
                  <a:pt x="2600635" y="5286124"/>
                </a:lnTo>
                <a:lnTo>
                  <a:pt x="2723539" y="5315620"/>
                </a:lnTo>
                <a:lnTo>
                  <a:pt x="2728455" y="5289811"/>
                </a:lnTo>
                <a:lnTo>
                  <a:pt x="2853816" y="5316850"/>
                </a:lnTo>
                <a:lnTo>
                  <a:pt x="2857503" y="5294728"/>
                </a:lnTo>
                <a:lnTo>
                  <a:pt x="2984094" y="5316850"/>
                </a:lnTo>
                <a:lnTo>
                  <a:pt x="2986552" y="5298414"/>
                </a:lnTo>
                <a:lnTo>
                  <a:pt x="3113142" y="5316850"/>
                </a:lnTo>
                <a:lnTo>
                  <a:pt x="3114371" y="5300872"/>
                </a:lnTo>
                <a:lnTo>
                  <a:pt x="3242191" y="5316850"/>
                </a:lnTo>
                <a:lnTo>
                  <a:pt x="3243419" y="5304560"/>
                </a:lnTo>
                <a:lnTo>
                  <a:pt x="3372468" y="5316850"/>
                </a:lnTo>
                <a:lnTo>
                  <a:pt x="3373697" y="5307018"/>
                </a:lnTo>
                <a:lnTo>
                  <a:pt x="3502746" y="5316850"/>
                </a:lnTo>
                <a:lnTo>
                  <a:pt x="3502746" y="5309476"/>
                </a:lnTo>
                <a:lnTo>
                  <a:pt x="3631794" y="5316850"/>
                </a:lnTo>
                <a:lnTo>
                  <a:pt x="3631794" y="5311934"/>
                </a:lnTo>
                <a:lnTo>
                  <a:pt x="3640398" y="5311934"/>
                </a:lnTo>
                <a:lnTo>
                  <a:pt x="3720284" y="5314392"/>
                </a:lnTo>
                <a:lnTo>
                  <a:pt x="3720284" y="5318079"/>
                </a:lnTo>
                <a:lnTo>
                  <a:pt x="5611768" y="5353721"/>
                </a:lnTo>
                <a:lnTo>
                  <a:pt x="3720284" y="5353721"/>
                </a:lnTo>
                <a:lnTo>
                  <a:pt x="3720284" y="5354950"/>
                </a:lnTo>
                <a:lnTo>
                  <a:pt x="3602297" y="5352493"/>
                </a:lnTo>
                <a:lnTo>
                  <a:pt x="3602297" y="5356179"/>
                </a:lnTo>
                <a:lnTo>
                  <a:pt x="3484310" y="5352493"/>
                </a:lnTo>
                <a:lnTo>
                  <a:pt x="3484310" y="5358637"/>
                </a:lnTo>
                <a:lnTo>
                  <a:pt x="3366323" y="5352493"/>
                </a:lnTo>
                <a:lnTo>
                  <a:pt x="3366323" y="5361095"/>
                </a:lnTo>
                <a:lnTo>
                  <a:pt x="3248335" y="5352493"/>
                </a:lnTo>
                <a:lnTo>
                  <a:pt x="3248335" y="5363553"/>
                </a:lnTo>
                <a:lnTo>
                  <a:pt x="3130348" y="5352493"/>
                </a:lnTo>
                <a:lnTo>
                  <a:pt x="3129120" y="5367240"/>
                </a:lnTo>
                <a:lnTo>
                  <a:pt x="3011133" y="5352493"/>
                </a:lnTo>
                <a:lnTo>
                  <a:pt x="3009903" y="5369698"/>
                </a:lnTo>
                <a:lnTo>
                  <a:pt x="2893145" y="5352493"/>
                </a:lnTo>
                <a:lnTo>
                  <a:pt x="2890687" y="5373386"/>
                </a:lnTo>
                <a:lnTo>
                  <a:pt x="2775158" y="5352493"/>
                </a:lnTo>
                <a:lnTo>
                  <a:pt x="2771470" y="5375844"/>
                </a:lnTo>
                <a:lnTo>
                  <a:pt x="2657171" y="5352493"/>
                </a:lnTo>
                <a:lnTo>
                  <a:pt x="2652255" y="5379530"/>
                </a:lnTo>
                <a:lnTo>
                  <a:pt x="2539184" y="5352493"/>
                </a:lnTo>
                <a:lnTo>
                  <a:pt x="2533038" y="5383218"/>
                </a:lnTo>
                <a:lnTo>
                  <a:pt x="2421196" y="5352493"/>
                </a:lnTo>
                <a:lnTo>
                  <a:pt x="2413822" y="5388134"/>
                </a:lnTo>
                <a:lnTo>
                  <a:pt x="2303209" y="5352493"/>
                </a:lnTo>
                <a:lnTo>
                  <a:pt x="2293377" y="5391821"/>
                </a:lnTo>
                <a:lnTo>
                  <a:pt x="2185222" y="5352493"/>
                </a:lnTo>
                <a:lnTo>
                  <a:pt x="2172932" y="5396738"/>
                </a:lnTo>
                <a:lnTo>
                  <a:pt x="2067235" y="5352493"/>
                </a:lnTo>
                <a:lnTo>
                  <a:pt x="2051257" y="5401654"/>
                </a:lnTo>
                <a:lnTo>
                  <a:pt x="1949247" y="5352493"/>
                </a:lnTo>
                <a:lnTo>
                  <a:pt x="1929583" y="5405341"/>
                </a:lnTo>
                <a:lnTo>
                  <a:pt x="1831260" y="5352493"/>
                </a:lnTo>
                <a:lnTo>
                  <a:pt x="1806680" y="5410257"/>
                </a:lnTo>
                <a:lnTo>
                  <a:pt x="1713273" y="5352493"/>
                </a:lnTo>
                <a:lnTo>
                  <a:pt x="1683776" y="5415173"/>
                </a:lnTo>
                <a:lnTo>
                  <a:pt x="1595286" y="5353721"/>
                </a:lnTo>
                <a:lnTo>
                  <a:pt x="1559643" y="5417631"/>
                </a:lnTo>
                <a:lnTo>
                  <a:pt x="1686234" y="5506121"/>
                </a:lnTo>
                <a:lnTo>
                  <a:pt x="1719418" y="5445899"/>
                </a:lnTo>
                <a:lnTo>
                  <a:pt x="1816512" y="5506121"/>
                </a:lnTo>
                <a:lnTo>
                  <a:pt x="1843551" y="5450815"/>
                </a:lnTo>
                <a:lnTo>
                  <a:pt x="1946789" y="5506121"/>
                </a:lnTo>
                <a:lnTo>
                  <a:pt x="1968912" y="5454502"/>
                </a:lnTo>
                <a:lnTo>
                  <a:pt x="2077067" y="5506121"/>
                </a:lnTo>
                <a:lnTo>
                  <a:pt x="2094273" y="5459418"/>
                </a:lnTo>
                <a:lnTo>
                  <a:pt x="2206115" y="5506121"/>
                </a:lnTo>
                <a:lnTo>
                  <a:pt x="2219635" y="5463106"/>
                </a:lnTo>
                <a:lnTo>
                  <a:pt x="2335164" y="5506121"/>
                </a:lnTo>
                <a:lnTo>
                  <a:pt x="2346225" y="5468021"/>
                </a:lnTo>
                <a:lnTo>
                  <a:pt x="2465442" y="5506121"/>
                </a:lnTo>
                <a:lnTo>
                  <a:pt x="2474044" y="5471708"/>
                </a:lnTo>
                <a:lnTo>
                  <a:pt x="2595719" y="5506121"/>
                </a:lnTo>
                <a:lnTo>
                  <a:pt x="2601864" y="5476625"/>
                </a:lnTo>
                <a:lnTo>
                  <a:pt x="2724767" y="5506121"/>
                </a:lnTo>
                <a:lnTo>
                  <a:pt x="2729683" y="5480311"/>
                </a:lnTo>
                <a:lnTo>
                  <a:pt x="2855045" y="5506121"/>
                </a:lnTo>
                <a:lnTo>
                  <a:pt x="2858732" y="5483999"/>
                </a:lnTo>
                <a:lnTo>
                  <a:pt x="2985322" y="5506121"/>
                </a:lnTo>
                <a:lnTo>
                  <a:pt x="2987780" y="5487686"/>
                </a:lnTo>
                <a:lnTo>
                  <a:pt x="3114371" y="5506121"/>
                </a:lnTo>
                <a:lnTo>
                  <a:pt x="3115600" y="5490143"/>
                </a:lnTo>
                <a:lnTo>
                  <a:pt x="3243419" y="5506121"/>
                </a:lnTo>
                <a:lnTo>
                  <a:pt x="3244649" y="5493831"/>
                </a:lnTo>
                <a:lnTo>
                  <a:pt x="3373697" y="5506121"/>
                </a:lnTo>
                <a:lnTo>
                  <a:pt x="3374927" y="5496289"/>
                </a:lnTo>
                <a:lnTo>
                  <a:pt x="3503974" y="5506121"/>
                </a:lnTo>
                <a:lnTo>
                  <a:pt x="3503974" y="5498747"/>
                </a:lnTo>
                <a:lnTo>
                  <a:pt x="3633024" y="5506121"/>
                </a:lnTo>
                <a:lnTo>
                  <a:pt x="3633024" y="5501205"/>
                </a:lnTo>
                <a:lnTo>
                  <a:pt x="3641626" y="5501205"/>
                </a:lnTo>
                <a:lnTo>
                  <a:pt x="3721514" y="5503663"/>
                </a:lnTo>
                <a:lnTo>
                  <a:pt x="3721514" y="5504892"/>
                </a:lnTo>
                <a:lnTo>
                  <a:pt x="5766626" y="5542992"/>
                </a:lnTo>
                <a:lnTo>
                  <a:pt x="3720284" y="5542992"/>
                </a:lnTo>
                <a:lnTo>
                  <a:pt x="3720284" y="5545450"/>
                </a:lnTo>
                <a:lnTo>
                  <a:pt x="3602297" y="5542992"/>
                </a:lnTo>
                <a:lnTo>
                  <a:pt x="3602297" y="5546679"/>
                </a:lnTo>
                <a:lnTo>
                  <a:pt x="3484310" y="5542992"/>
                </a:lnTo>
                <a:lnTo>
                  <a:pt x="3484310" y="5549138"/>
                </a:lnTo>
                <a:lnTo>
                  <a:pt x="3366323" y="5542992"/>
                </a:lnTo>
                <a:lnTo>
                  <a:pt x="3366323" y="5551595"/>
                </a:lnTo>
                <a:lnTo>
                  <a:pt x="3248335" y="5542992"/>
                </a:lnTo>
                <a:lnTo>
                  <a:pt x="3248335" y="5554053"/>
                </a:lnTo>
                <a:lnTo>
                  <a:pt x="3130348" y="5542992"/>
                </a:lnTo>
                <a:lnTo>
                  <a:pt x="3129120" y="5557741"/>
                </a:lnTo>
                <a:lnTo>
                  <a:pt x="3011133" y="5542992"/>
                </a:lnTo>
                <a:lnTo>
                  <a:pt x="3009903" y="5560199"/>
                </a:lnTo>
                <a:lnTo>
                  <a:pt x="2893145" y="5542992"/>
                </a:lnTo>
                <a:lnTo>
                  <a:pt x="2890687" y="5563885"/>
                </a:lnTo>
                <a:lnTo>
                  <a:pt x="2775158" y="5542992"/>
                </a:lnTo>
                <a:lnTo>
                  <a:pt x="2771470" y="5567573"/>
                </a:lnTo>
                <a:lnTo>
                  <a:pt x="2657171" y="5542992"/>
                </a:lnTo>
                <a:lnTo>
                  <a:pt x="2652255" y="5570031"/>
                </a:lnTo>
                <a:lnTo>
                  <a:pt x="2539184" y="5542992"/>
                </a:lnTo>
                <a:lnTo>
                  <a:pt x="2533038" y="5574947"/>
                </a:lnTo>
                <a:lnTo>
                  <a:pt x="2421196" y="5542992"/>
                </a:lnTo>
                <a:lnTo>
                  <a:pt x="2413822" y="5578634"/>
                </a:lnTo>
                <a:lnTo>
                  <a:pt x="2303209" y="5542992"/>
                </a:lnTo>
                <a:lnTo>
                  <a:pt x="2293377" y="5582321"/>
                </a:lnTo>
                <a:lnTo>
                  <a:pt x="2185222" y="5542992"/>
                </a:lnTo>
                <a:lnTo>
                  <a:pt x="2172932" y="5587238"/>
                </a:lnTo>
                <a:lnTo>
                  <a:pt x="2067235" y="5542992"/>
                </a:lnTo>
                <a:lnTo>
                  <a:pt x="2051257" y="5592154"/>
                </a:lnTo>
                <a:lnTo>
                  <a:pt x="1949247" y="5542992"/>
                </a:lnTo>
                <a:lnTo>
                  <a:pt x="1929583" y="5595840"/>
                </a:lnTo>
                <a:lnTo>
                  <a:pt x="1831260" y="5542992"/>
                </a:lnTo>
                <a:lnTo>
                  <a:pt x="1806680" y="5600756"/>
                </a:lnTo>
                <a:lnTo>
                  <a:pt x="1713273" y="5542992"/>
                </a:lnTo>
                <a:lnTo>
                  <a:pt x="1683776" y="5605674"/>
                </a:lnTo>
                <a:lnTo>
                  <a:pt x="1595286" y="5542992"/>
                </a:lnTo>
                <a:lnTo>
                  <a:pt x="1559643" y="5606902"/>
                </a:lnTo>
                <a:lnTo>
                  <a:pt x="1685005" y="5695392"/>
                </a:lnTo>
                <a:lnTo>
                  <a:pt x="1718189" y="5635170"/>
                </a:lnTo>
                <a:lnTo>
                  <a:pt x="1815282" y="5695392"/>
                </a:lnTo>
                <a:lnTo>
                  <a:pt x="1842321" y="5640085"/>
                </a:lnTo>
                <a:lnTo>
                  <a:pt x="1945560" y="5695392"/>
                </a:lnTo>
                <a:lnTo>
                  <a:pt x="1967682" y="5643773"/>
                </a:lnTo>
                <a:lnTo>
                  <a:pt x="2075837" y="5695392"/>
                </a:lnTo>
                <a:lnTo>
                  <a:pt x="2093044" y="5648689"/>
                </a:lnTo>
                <a:lnTo>
                  <a:pt x="2204887" y="5695392"/>
                </a:lnTo>
                <a:lnTo>
                  <a:pt x="2218405" y="5652376"/>
                </a:lnTo>
                <a:lnTo>
                  <a:pt x="2333934" y="5695392"/>
                </a:lnTo>
                <a:lnTo>
                  <a:pt x="2344996" y="5657292"/>
                </a:lnTo>
                <a:lnTo>
                  <a:pt x="2464212" y="5695392"/>
                </a:lnTo>
                <a:lnTo>
                  <a:pt x="2472816" y="5660980"/>
                </a:lnTo>
                <a:lnTo>
                  <a:pt x="2593261" y="5695392"/>
                </a:lnTo>
                <a:lnTo>
                  <a:pt x="2598177" y="5667125"/>
                </a:lnTo>
                <a:lnTo>
                  <a:pt x="2721081" y="5696622"/>
                </a:lnTo>
                <a:lnTo>
                  <a:pt x="2725997" y="5670812"/>
                </a:lnTo>
                <a:lnTo>
                  <a:pt x="2851358" y="5696622"/>
                </a:lnTo>
                <a:lnTo>
                  <a:pt x="2855045" y="5674498"/>
                </a:lnTo>
                <a:lnTo>
                  <a:pt x="2981636" y="5696622"/>
                </a:lnTo>
                <a:lnTo>
                  <a:pt x="2984094" y="5678186"/>
                </a:lnTo>
                <a:lnTo>
                  <a:pt x="3110684" y="5696622"/>
                </a:lnTo>
                <a:lnTo>
                  <a:pt x="3113142" y="5680644"/>
                </a:lnTo>
                <a:lnTo>
                  <a:pt x="3240961" y="5696622"/>
                </a:lnTo>
                <a:lnTo>
                  <a:pt x="3242191" y="5684332"/>
                </a:lnTo>
                <a:lnTo>
                  <a:pt x="3371239" y="5696622"/>
                </a:lnTo>
                <a:lnTo>
                  <a:pt x="3372468" y="5686789"/>
                </a:lnTo>
                <a:lnTo>
                  <a:pt x="3501516" y="5696622"/>
                </a:lnTo>
                <a:lnTo>
                  <a:pt x="3501516" y="5689247"/>
                </a:lnTo>
                <a:lnTo>
                  <a:pt x="3630565" y="5696622"/>
                </a:lnTo>
                <a:lnTo>
                  <a:pt x="3630565" y="5691706"/>
                </a:lnTo>
                <a:lnTo>
                  <a:pt x="3639168" y="5691706"/>
                </a:lnTo>
                <a:lnTo>
                  <a:pt x="3719056" y="5694163"/>
                </a:lnTo>
                <a:lnTo>
                  <a:pt x="3719056" y="5695392"/>
                </a:lnTo>
                <a:lnTo>
                  <a:pt x="5581043" y="5739638"/>
                </a:lnTo>
                <a:lnTo>
                  <a:pt x="3715368" y="5739638"/>
                </a:lnTo>
                <a:lnTo>
                  <a:pt x="3715368" y="5742096"/>
                </a:lnTo>
                <a:lnTo>
                  <a:pt x="3597381" y="5739638"/>
                </a:lnTo>
                <a:lnTo>
                  <a:pt x="3597381" y="5743324"/>
                </a:lnTo>
                <a:lnTo>
                  <a:pt x="3479394" y="5739638"/>
                </a:lnTo>
                <a:lnTo>
                  <a:pt x="3479394" y="5745784"/>
                </a:lnTo>
                <a:lnTo>
                  <a:pt x="3361406" y="5739638"/>
                </a:lnTo>
                <a:lnTo>
                  <a:pt x="3361406" y="5748240"/>
                </a:lnTo>
                <a:lnTo>
                  <a:pt x="3243419" y="5739638"/>
                </a:lnTo>
                <a:lnTo>
                  <a:pt x="3243419" y="5750698"/>
                </a:lnTo>
                <a:lnTo>
                  <a:pt x="3125432" y="5739638"/>
                </a:lnTo>
                <a:lnTo>
                  <a:pt x="3124204" y="5754386"/>
                </a:lnTo>
                <a:lnTo>
                  <a:pt x="3006216" y="5739638"/>
                </a:lnTo>
                <a:lnTo>
                  <a:pt x="3004987" y="5756844"/>
                </a:lnTo>
                <a:lnTo>
                  <a:pt x="2888229" y="5739638"/>
                </a:lnTo>
                <a:lnTo>
                  <a:pt x="2885771" y="5760531"/>
                </a:lnTo>
                <a:lnTo>
                  <a:pt x="2770242" y="5739638"/>
                </a:lnTo>
                <a:lnTo>
                  <a:pt x="2766554" y="5762989"/>
                </a:lnTo>
                <a:lnTo>
                  <a:pt x="2652255" y="5739638"/>
                </a:lnTo>
                <a:lnTo>
                  <a:pt x="2647339" y="5766676"/>
                </a:lnTo>
                <a:lnTo>
                  <a:pt x="2534268" y="5739638"/>
                </a:lnTo>
                <a:lnTo>
                  <a:pt x="2528122" y="5770364"/>
                </a:lnTo>
                <a:lnTo>
                  <a:pt x="2416280" y="5739638"/>
                </a:lnTo>
                <a:lnTo>
                  <a:pt x="2408906" y="5775279"/>
                </a:lnTo>
                <a:lnTo>
                  <a:pt x="2298293" y="5739638"/>
                </a:lnTo>
                <a:lnTo>
                  <a:pt x="2288461" y="5778967"/>
                </a:lnTo>
                <a:lnTo>
                  <a:pt x="2180306" y="5739638"/>
                </a:lnTo>
                <a:lnTo>
                  <a:pt x="2168015" y="5783883"/>
                </a:lnTo>
                <a:lnTo>
                  <a:pt x="2062319" y="5739638"/>
                </a:lnTo>
                <a:lnTo>
                  <a:pt x="2046340" y="5788799"/>
                </a:lnTo>
                <a:lnTo>
                  <a:pt x="1944331" y="5739638"/>
                </a:lnTo>
                <a:lnTo>
                  <a:pt x="1924667" y="5792485"/>
                </a:lnTo>
                <a:lnTo>
                  <a:pt x="1826344" y="5739638"/>
                </a:lnTo>
                <a:lnTo>
                  <a:pt x="1801763" y="5797402"/>
                </a:lnTo>
                <a:lnTo>
                  <a:pt x="1708357" y="5739638"/>
                </a:lnTo>
                <a:lnTo>
                  <a:pt x="1678860" y="5801089"/>
                </a:lnTo>
                <a:lnTo>
                  <a:pt x="1590370" y="5739638"/>
                </a:lnTo>
                <a:lnTo>
                  <a:pt x="1557002" y="5799468"/>
                </a:lnTo>
                <a:lnTo>
                  <a:pt x="1476069" y="5734722"/>
                </a:lnTo>
                <a:lnTo>
                  <a:pt x="1439198" y="5793715"/>
                </a:lnTo>
                <a:lnTo>
                  <a:pt x="1555957" y="5887122"/>
                </a:lnTo>
                <a:lnTo>
                  <a:pt x="1591935" y="5829557"/>
                </a:lnTo>
                <a:lnTo>
                  <a:pt x="1681318" y="5892038"/>
                </a:lnTo>
                <a:lnTo>
                  <a:pt x="1714501" y="5831816"/>
                </a:lnTo>
                <a:lnTo>
                  <a:pt x="1811596" y="5892038"/>
                </a:lnTo>
                <a:lnTo>
                  <a:pt x="1838634" y="5836731"/>
                </a:lnTo>
                <a:lnTo>
                  <a:pt x="1941873" y="5892038"/>
                </a:lnTo>
                <a:lnTo>
                  <a:pt x="1963996" y="5840418"/>
                </a:lnTo>
                <a:lnTo>
                  <a:pt x="2072151" y="5892038"/>
                </a:lnTo>
                <a:lnTo>
                  <a:pt x="2089357" y="5845335"/>
                </a:lnTo>
                <a:lnTo>
                  <a:pt x="2201199" y="5892038"/>
                </a:lnTo>
                <a:lnTo>
                  <a:pt x="2214719" y="5849021"/>
                </a:lnTo>
                <a:lnTo>
                  <a:pt x="2330248" y="5892038"/>
                </a:lnTo>
                <a:lnTo>
                  <a:pt x="2341309" y="5853937"/>
                </a:lnTo>
                <a:lnTo>
                  <a:pt x="2460525" y="5892038"/>
                </a:lnTo>
                <a:lnTo>
                  <a:pt x="2469128" y="5857625"/>
                </a:lnTo>
                <a:lnTo>
                  <a:pt x="2590803" y="5892038"/>
                </a:lnTo>
                <a:lnTo>
                  <a:pt x="2596948" y="5862541"/>
                </a:lnTo>
                <a:lnTo>
                  <a:pt x="2719851" y="5892038"/>
                </a:lnTo>
                <a:lnTo>
                  <a:pt x="2724767" y="5866228"/>
                </a:lnTo>
                <a:lnTo>
                  <a:pt x="2850129" y="5892038"/>
                </a:lnTo>
                <a:lnTo>
                  <a:pt x="2853816" y="5869915"/>
                </a:lnTo>
                <a:lnTo>
                  <a:pt x="2980406" y="5892038"/>
                </a:lnTo>
                <a:lnTo>
                  <a:pt x="2982864" y="5873602"/>
                </a:lnTo>
                <a:lnTo>
                  <a:pt x="3109455" y="5892038"/>
                </a:lnTo>
                <a:lnTo>
                  <a:pt x="3110684" y="5876061"/>
                </a:lnTo>
                <a:lnTo>
                  <a:pt x="3238503" y="5892038"/>
                </a:lnTo>
                <a:lnTo>
                  <a:pt x="3239733" y="5879748"/>
                </a:lnTo>
                <a:lnTo>
                  <a:pt x="3368781" y="5892038"/>
                </a:lnTo>
                <a:lnTo>
                  <a:pt x="3370010" y="5882206"/>
                </a:lnTo>
                <a:lnTo>
                  <a:pt x="3499058" y="5892038"/>
                </a:lnTo>
                <a:lnTo>
                  <a:pt x="3499058" y="5884664"/>
                </a:lnTo>
                <a:lnTo>
                  <a:pt x="3628107" y="5892038"/>
                </a:lnTo>
                <a:lnTo>
                  <a:pt x="3628107" y="5887122"/>
                </a:lnTo>
                <a:lnTo>
                  <a:pt x="3636710" y="5887122"/>
                </a:lnTo>
                <a:lnTo>
                  <a:pt x="3716598" y="5889580"/>
                </a:lnTo>
                <a:lnTo>
                  <a:pt x="3716598" y="5890808"/>
                </a:lnTo>
                <a:lnTo>
                  <a:pt x="5568752" y="5928909"/>
                </a:lnTo>
                <a:lnTo>
                  <a:pt x="3716598" y="5928909"/>
                </a:lnTo>
                <a:lnTo>
                  <a:pt x="3717826" y="5931367"/>
                </a:lnTo>
                <a:lnTo>
                  <a:pt x="3599839" y="5928909"/>
                </a:lnTo>
                <a:lnTo>
                  <a:pt x="3599839" y="5932595"/>
                </a:lnTo>
                <a:lnTo>
                  <a:pt x="3481852" y="5928909"/>
                </a:lnTo>
                <a:lnTo>
                  <a:pt x="3481852" y="5935053"/>
                </a:lnTo>
                <a:lnTo>
                  <a:pt x="3363865" y="5928909"/>
                </a:lnTo>
                <a:lnTo>
                  <a:pt x="3363865" y="5937513"/>
                </a:lnTo>
                <a:lnTo>
                  <a:pt x="3245877" y="5928909"/>
                </a:lnTo>
                <a:lnTo>
                  <a:pt x="3245877" y="5939970"/>
                </a:lnTo>
                <a:lnTo>
                  <a:pt x="3127890" y="5928909"/>
                </a:lnTo>
                <a:lnTo>
                  <a:pt x="3126662" y="5943657"/>
                </a:lnTo>
                <a:lnTo>
                  <a:pt x="3008674" y="5928909"/>
                </a:lnTo>
                <a:lnTo>
                  <a:pt x="3007445" y="5946115"/>
                </a:lnTo>
                <a:lnTo>
                  <a:pt x="2890687" y="5928909"/>
                </a:lnTo>
                <a:lnTo>
                  <a:pt x="2888229" y="5949803"/>
                </a:lnTo>
                <a:lnTo>
                  <a:pt x="2772700" y="5928909"/>
                </a:lnTo>
                <a:lnTo>
                  <a:pt x="2769012" y="5953490"/>
                </a:lnTo>
                <a:lnTo>
                  <a:pt x="2654713" y="5928909"/>
                </a:lnTo>
                <a:lnTo>
                  <a:pt x="2649797" y="5955948"/>
                </a:lnTo>
                <a:lnTo>
                  <a:pt x="2536726" y="5928909"/>
                </a:lnTo>
                <a:lnTo>
                  <a:pt x="2530580" y="5960864"/>
                </a:lnTo>
                <a:lnTo>
                  <a:pt x="2418738" y="5928909"/>
                </a:lnTo>
                <a:lnTo>
                  <a:pt x="2411364" y="5964550"/>
                </a:lnTo>
                <a:lnTo>
                  <a:pt x="2300751" y="5928909"/>
                </a:lnTo>
                <a:lnTo>
                  <a:pt x="2290919" y="5968238"/>
                </a:lnTo>
                <a:lnTo>
                  <a:pt x="2182764" y="5928909"/>
                </a:lnTo>
                <a:lnTo>
                  <a:pt x="2170474" y="5973154"/>
                </a:lnTo>
                <a:lnTo>
                  <a:pt x="2064777" y="5928909"/>
                </a:lnTo>
                <a:lnTo>
                  <a:pt x="2048799" y="5978070"/>
                </a:lnTo>
                <a:lnTo>
                  <a:pt x="1946789" y="5928909"/>
                </a:lnTo>
                <a:lnTo>
                  <a:pt x="1927125" y="5981757"/>
                </a:lnTo>
                <a:lnTo>
                  <a:pt x="1828802" y="5928909"/>
                </a:lnTo>
                <a:lnTo>
                  <a:pt x="1804221" y="5986674"/>
                </a:lnTo>
                <a:lnTo>
                  <a:pt x="1710815" y="5928909"/>
                </a:lnTo>
                <a:lnTo>
                  <a:pt x="1681318" y="5991590"/>
                </a:lnTo>
                <a:lnTo>
                  <a:pt x="1592828" y="5928909"/>
                </a:lnTo>
                <a:lnTo>
                  <a:pt x="1557754" y="5991799"/>
                </a:lnTo>
                <a:lnTo>
                  <a:pt x="1476069" y="5926451"/>
                </a:lnTo>
                <a:lnTo>
                  <a:pt x="1439198" y="5985444"/>
                </a:lnTo>
                <a:lnTo>
                  <a:pt x="1555957" y="6078851"/>
                </a:lnTo>
                <a:lnTo>
                  <a:pt x="1592828" y="6019857"/>
                </a:lnTo>
                <a:lnTo>
                  <a:pt x="1571804" y="6003038"/>
                </a:lnTo>
                <a:lnTo>
                  <a:pt x="1683776" y="6081309"/>
                </a:lnTo>
                <a:lnTo>
                  <a:pt x="1716959" y="6021086"/>
                </a:lnTo>
                <a:lnTo>
                  <a:pt x="1814054" y="6081309"/>
                </a:lnTo>
                <a:lnTo>
                  <a:pt x="1841092" y="6026002"/>
                </a:lnTo>
                <a:lnTo>
                  <a:pt x="1944331" y="6081309"/>
                </a:lnTo>
                <a:lnTo>
                  <a:pt x="1966454" y="6029690"/>
                </a:lnTo>
                <a:lnTo>
                  <a:pt x="2074609" y="6081309"/>
                </a:lnTo>
                <a:lnTo>
                  <a:pt x="2091815" y="6034606"/>
                </a:lnTo>
                <a:lnTo>
                  <a:pt x="2203657" y="6081309"/>
                </a:lnTo>
                <a:lnTo>
                  <a:pt x="2217177" y="6038292"/>
                </a:lnTo>
                <a:lnTo>
                  <a:pt x="2332706" y="6081309"/>
                </a:lnTo>
                <a:lnTo>
                  <a:pt x="2343767" y="6043208"/>
                </a:lnTo>
                <a:lnTo>
                  <a:pt x="2462984" y="6081309"/>
                </a:lnTo>
                <a:lnTo>
                  <a:pt x="2471586" y="6046896"/>
                </a:lnTo>
                <a:lnTo>
                  <a:pt x="2593261" y="6081309"/>
                </a:lnTo>
                <a:lnTo>
                  <a:pt x="2599406" y="6051812"/>
                </a:lnTo>
                <a:lnTo>
                  <a:pt x="2722309" y="6081309"/>
                </a:lnTo>
                <a:lnTo>
                  <a:pt x="2727225" y="6055499"/>
                </a:lnTo>
                <a:lnTo>
                  <a:pt x="2851358" y="6081309"/>
                </a:lnTo>
                <a:lnTo>
                  <a:pt x="2855045" y="6059186"/>
                </a:lnTo>
                <a:lnTo>
                  <a:pt x="2981636" y="6081309"/>
                </a:lnTo>
                <a:lnTo>
                  <a:pt x="2984094" y="6062873"/>
                </a:lnTo>
                <a:lnTo>
                  <a:pt x="3110684" y="6081309"/>
                </a:lnTo>
                <a:lnTo>
                  <a:pt x="3111913" y="6065332"/>
                </a:lnTo>
                <a:lnTo>
                  <a:pt x="3239733" y="6081309"/>
                </a:lnTo>
                <a:lnTo>
                  <a:pt x="3240961" y="6069019"/>
                </a:lnTo>
                <a:lnTo>
                  <a:pt x="3370010" y="6081309"/>
                </a:lnTo>
                <a:lnTo>
                  <a:pt x="3371239" y="6071477"/>
                </a:lnTo>
                <a:lnTo>
                  <a:pt x="3500288" y="6081309"/>
                </a:lnTo>
                <a:lnTo>
                  <a:pt x="3500288" y="6073935"/>
                </a:lnTo>
                <a:lnTo>
                  <a:pt x="3629336" y="6081309"/>
                </a:lnTo>
                <a:lnTo>
                  <a:pt x="3629336" y="6076393"/>
                </a:lnTo>
                <a:lnTo>
                  <a:pt x="3637940" y="6076393"/>
                </a:lnTo>
                <a:lnTo>
                  <a:pt x="3717826" y="6078851"/>
                </a:lnTo>
                <a:lnTo>
                  <a:pt x="3717826" y="6080079"/>
                </a:lnTo>
                <a:lnTo>
                  <a:pt x="5534338" y="6118180"/>
                </a:lnTo>
                <a:lnTo>
                  <a:pt x="3719056" y="6118180"/>
                </a:lnTo>
                <a:lnTo>
                  <a:pt x="3719056" y="6119408"/>
                </a:lnTo>
                <a:lnTo>
                  <a:pt x="3601069" y="6116950"/>
                </a:lnTo>
                <a:lnTo>
                  <a:pt x="3601069" y="6120638"/>
                </a:lnTo>
                <a:lnTo>
                  <a:pt x="3483081" y="6116950"/>
                </a:lnTo>
                <a:lnTo>
                  <a:pt x="3483081" y="6123096"/>
                </a:lnTo>
                <a:lnTo>
                  <a:pt x="3365094" y="6116950"/>
                </a:lnTo>
                <a:lnTo>
                  <a:pt x="3365094" y="6125554"/>
                </a:lnTo>
                <a:lnTo>
                  <a:pt x="3247107" y="6116950"/>
                </a:lnTo>
                <a:lnTo>
                  <a:pt x="3247107" y="6128012"/>
                </a:lnTo>
                <a:lnTo>
                  <a:pt x="3129120" y="6116950"/>
                </a:lnTo>
                <a:lnTo>
                  <a:pt x="3127890" y="6131699"/>
                </a:lnTo>
                <a:lnTo>
                  <a:pt x="3009903" y="6116950"/>
                </a:lnTo>
                <a:lnTo>
                  <a:pt x="3008674" y="6134158"/>
                </a:lnTo>
                <a:lnTo>
                  <a:pt x="2891916" y="6116950"/>
                </a:lnTo>
                <a:lnTo>
                  <a:pt x="2889458" y="6137845"/>
                </a:lnTo>
                <a:lnTo>
                  <a:pt x="2773928" y="6116950"/>
                </a:lnTo>
                <a:lnTo>
                  <a:pt x="2770242" y="6140303"/>
                </a:lnTo>
                <a:lnTo>
                  <a:pt x="2655941" y="6116950"/>
                </a:lnTo>
                <a:lnTo>
                  <a:pt x="2651025" y="6143989"/>
                </a:lnTo>
                <a:lnTo>
                  <a:pt x="2537954" y="6116950"/>
                </a:lnTo>
                <a:lnTo>
                  <a:pt x="2531809" y="6147677"/>
                </a:lnTo>
                <a:lnTo>
                  <a:pt x="2419967" y="6116950"/>
                </a:lnTo>
                <a:lnTo>
                  <a:pt x="2412593" y="6152593"/>
                </a:lnTo>
                <a:lnTo>
                  <a:pt x="2301980" y="6116950"/>
                </a:lnTo>
                <a:lnTo>
                  <a:pt x="2292147" y="6156279"/>
                </a:lnTo>
                <a:lnTo>
                  <a:pt x="2183992" y="6116950"/>
                </a:lnTo>
                <a:lnTo>
                  <a:pt x="2171702" y="6161196"/>
                </a:lnTo>
                <a:lnTo>
                  <a:pt x="2066005" y="6116950"/>
                </a:lnTo>
                <a:lnTo>
                  <a:pt x="2050028" y="6166112"/>
                </a:lnTo>
                <a:lnTo>
                  <a:pt x="1948018" y="6116950"/>
                </a:lnTo>
                <a:lnTo>
                  <a:pt x="1928353" y="6169799"/>
                </a:lnTo>
                <a:lnTo>
                  <a:pt x="1830031" y="6116950"/>
                </a:lnTo>
                <a:lnTo>
                  <a:pt x="1805450" y="6174716"/>
                </a:lnTo>
                <a:lnTo>
                  <a:pt x="1712043" y="6116950"/>
                </a:lnTo>
                <a:lnTo>
                  <a:pt x="1682547" y="6179632"/>
                </a:lnTo>
                <a:lnTo>
                  <a:pt x="1594056" y="6118180"/>
                </a:lnTo>
                <a:lnTo>
                  <a:pt x="1558415" y="6182090"/>
                </a:lnTo>
                <a:lnTo>
                  <a:pt x="1685005" y="6270580"/>
                </a:lnTo>
                <a:lnTo>
                  <a:pt x="1718189" y="6210357"/>
                </a:lnTo>
                <a:lnTo>
                  <a:pt x="1815282" y="6270580"/>
                </a:lnTo>
                <a:lnTo>
                  <a:pt x="1842321" y="6215273"/>
                </a:lnTo>
                <a:lnTo>
                  <a:pt x="1945560" y="6270580"/>
                </a:lnTo>
                <a:lnTo>
                  <a:pt x="1967682" y="6218961"/>
                </a:lnTo>
                <a:lnTo>
                  <a:pt x="2075837" y="6270580"/>
                </a:lnTo>
                <a:lnTo>
                  <a:pt x="2093044" y="6223877"/>
                </a:lnTo>
                <a:lnTo>
                  <a:pt x="2204887" y="6270580"/>
                </a:lnTo>
                <a:lnTo>
                  <a:pt x="2218405" y="6227563"/>
                </a:lnTo>
                <a:lnTo>
                  <a:pt x="2333934" y="6270580"/>
                </a:lnTo>
                <a:lnTo>
                  <a:pt x="2344996" y="6232481"/>
                </a:lnTo>
                <a:lnTo>
                  <a:pt x="2464212" y="6270580"/>
                </a:lnTo>
                <a:lnTo>
                  <a:pt x="2472816" y="6236167"/>
                </a:lnTo>
                <a:lnTo>
                  <a:pt x="2594490" y="6270580"/>
                </a:lnTo>
                <a:lnTo>
                  <a:pt x="2600635" y="6241083"/>
                </a:lnTo>
                <a:lnTo>
                  <a:pt x="2723539" y="6270580"/>
                </a:lnTo>
                <a:lnTo>
                  <a:pt x="2728455" y="6244771"/>
                </a:lnTo>
                <a:lnTo>
                  <a:pt x="2853816" y="6270580"/>
                </a:lnTo>
                <a:lnTo>
                  <a:pt x="2857503" y="6248458"/>
                </a:lnTo>
                <a:lnTo>
                  <a:pt x="2984094" y="6270580"/>
                </a:lnTo>
                <a:lnTo>
                  <a:pt x="2986552" y="6252144"/>
                </a:lnTo>
                <a:lnTo>
                  <a:pt x="3113142" y="6270580"/>
                </a:lnTo>
                <a:lnTo>
                  <a:pt x="3114371" y="6254602"/>
                </a:lnTo>
                <a:lnTo>
                  <a:pt x="3242191" y="6270580"/>
                </a:lnTo>
                <a:lnTo>
                  <a:pt x="3243419" y="6258290"/>
                </a:lnTo>
                <a:lnTo>
                  <a:pt x="3372468" y="6270580"/>
                </a:lnTo>
                <a:lnTo>
                  <a:pt x="3373697" y="6260748"/>
                </a:lnTo>
                <a:lnTo>
                  <a:pt x="3502746" y="6270580"/>
                </a:lnTo>
                <a:lnTo>
                  <a:pt x="3502746" y="6263206"/>
                </a:lnTo>
                <a:lnTo>
                  <a:pt x="3631794" y="6270580"/>
                </a:lnTo>
                <a:lnTo>
                  <a:pt x="3631794" y="6265664"/>
                </a:lnTo>
                <a:lnTo>
                  <a:pt x="3640398" y="6265664"/>
                </a:lnTo>
                <a:lnTo>
                  <a:pt x="3720284" y="6268122"/>
                </a:lnTo>
                <a:lnTo>
                  <a:pt x="3720284" y="6269352"/>
                </a:lnTo>
                <a:lnTo>
                  <a:pt x="5476574" y="6306223"/>
                </a:lnTo>
                <a:lnTo>
                  <a:pt x="3720284" y="6306223"/>
                </a:lnTo>
                <a:lnTo>
                  <a:pt x="3720284" y="6308681"/>
                </a:lnTo>
                <a:lnTo>
                  <a:pt x="3602297" y="6306223"/>
                </a:lnTo>
                <a:lnTo>
                  <a:pt x="3602297" y="6309909"/>
                </a:lnTo>
                <a:lnTo>
                  <a:pt x="3484310" y="6306223"/>
                </a:lnTo>
                <a:lnTo>
                  <a:pt x="3484310" y="6312367"/>
                </a:lnTo>
                <a:lnTo>
                  <a:pt x="3366323" y="6306223"/>
                </a:lnTo>
                <a:lnTo>
                  <a:pt x="3366323" y="6314825"/>
                </a:lnTo>
                <a:lnTo>
                  <a:pt x="3248335" y="6306223"/>
                </a:lnTo>
                <a:lnTo>
                  <a:pt x="3248335" y="6317283"/>
                </a:lnTo>
                <a:lnTo>
                  <a:pt x="3130348" y="6306223"/>
                </a:lnTo>
                <a:lnTo>
                  <a:pt x="3129120" y="6320971"/>
                </a:lnTo>
                <a:lnTo>
                  <a:pt x="3011133" y="6307451"/>
                </a:lnTo>
                <a:lnTo>
                  <a:pt x="3009903" y="6324658"/>
                </a:lnTo>
                <a:lnTo>
                  <a:pt x="2893145" y="6307451"/>
                </a:lnTo>
                <a:lnTo>
                  <a:pt x="2890687" y="6328344"/>
                </a:lnTo>
                <a:lnTo>
                  <a:pt x="2775158" y="6307451"/>
                </a:lnTo>
                <a:lnTo>
                  <a:pt x="2771470" y="6330803"/>
                </a:lnTo>
                <a:lnTo>
                  <a:pt x="2657171" y="6307451"/>
                </a:lnTo>
                <a:lnTo>
                  <a:pt x="2652255" y="6334490"/>
                </a:lnTo>
                <a:lnTo>
                  <a:pt x="2539184" y="6307451"/>
                </a:lnTo>
                <a:lnTo>
                  <a:pt x="2533038" y="6338176"/>
                </a:lnTo>
                <a:lnTo>
                  <a:pt x="2421196" y="6307451"/>
                </a:lnTo>
                <a:lnTo>
                  <a:pt x="2413822" y="6343094"/>
                </a:lnTo>
                <a:lnTo>
                  <a:pt x="2303209" y="6307451"/>
                </a:lnTo>
                <a:lnTo>
                  <a:pt x="2293377" y="6346780"/>
                </a:lnTo>
                <a:lnTo>
                  <a:pt x="2185222" y="6307451"/>
                </a:lnTo>
                <a:lnTo>
                  <a:pt x="2172932" y="6351696"/>
                </a:lnTo>
                <a:lnTo>
                  <a:pt x="2067235" y="6307451"/>
                </a:lnTo>
                <a:lnTo>
                  <a:pt x="2051257" y="6356613"/>
                </a:lnTo>
                <a:lnTo>
                  <a:pt x="1949247" y="6307451"/>
                </a:lnTo>
                <a:lnTo>
                  <a:pt x="1929583" y="6360299"/>
                </a:lnTo>
                <a:lnTo>
                  <a:pt x="1831260" y="6307451"/>
                </a:lnTo>
                <a:lnTo>
                  <a:pt x="1806680" y="6365215"/>
                </a:lnTo>
                <a:lnTo>
                  <a:pt x="1713273" y="6307451"/>
                </a:lnTo>
                <a:lnTo>
                  <a:pt x="1683776" y="6368903"/>
                </a:lnTo>
                <a:lnTo>
                  <a:pt x="1595286" y="6307451"/>
                </a:lnTo>
                <a:lnTo>
                  <a:pt x="1559643" y="6371361"/>
                </a:lnTo>
                <a:lnTo>
                  <a:pt x="1686234" y="6459851"/>
                </a:lnTo>
                <a:lnTo>
                  <a:pt x="1719418" y="6399628"/>
                </a:lnTo>
                <a:lnTo>
                  <a:pt x="1816512" y="6459851"/>
                </a:lnTo>
                <a:lnTo>
                  <a:pt x="1843551" y="6404546"/>
                </a:lnTo>
                <a:lnTo>
                  <a:pt x="1946789" y="6459851"/>
                </a:lnTo>
                <a:lnTo>
                  <a:pt x="1968912" y="6408232"/>
                </a:lnTo>
                <a:lnTo>
                  <a:pt x="2077067" y="6459851"/>
                </a:lnTo>
                <a:lnTo>
                  <a:pt x="2094273" y="6413148"/>
                </a:lnTo>
                <a:lnTo>
                  <a:pt x="2206115" y="6459851"/>
                </a:lnTo>
                <a:lnTo>
                  <a:pt x="2219635" y="6416836"/>
                </a:lnTo>
                <a:lnTo>
                  <a:pt x="2335164" y="6459851"/>
                </a:lnTo>
                <a:lnTo>
                  <a:pt x="2346225" y="6421751"/>
                </a:lnTo>
                <a:lnTo>
                  <a:pt x="2465442" y="6459851"/>
                </a:lnTo>
                <a:lnTo>
                  <a:pt x="2474044" y="6425438"/>
                </a:lnTo>
                <a:lnTo>
                  <a:pt x="2595719" y="6459851"/>
                </a:lnTo>
                <a:lnTo>
                  <a:pt x="2601864" y="6430355"/>
                </a:lnTo>
                <a:lnTo>
                  <a:pt x="2724767" y="6459851"/>
                </a:lnTo>
                <a:lnTo>
                  <a:pt x="2729683" y="6434041"/>
                </a:lnTo>
                <a:lnTo>
                  <a:pt x="2853816" y="6459851"/>
                </a:lnTo>
                <a:lnTo>
                  <a:pt x="2857503" y="6437729"/>
                </a:lnTo>
                <a:lnTo>
                  <a:pt x="2984094" y="6459851"/>
                </a:lnTo>
                <a:lnTo>
                  <a:pt x="2986552" y="6441417"/>
                </a:lnTo>
                <a:lnTo>
                  <a:pt x="3113142" y="6459851"/>
                </a:lnTo>
                <a:lnTo>
                  <a:pt x="3114371" y="6443875"/>
                </a:lnTo>
                <a:lnTo>
                  <a:pt x="3242191" y="6459851"/>
                </a:lnTo>
                <a:lnTo>
                  <a:pt x="3243419" y="6447561"/>
                </a:lnTo>
                <a:lnTo>
                  <a:pt x="3372468" y="6459851"/>
                </a:lnTo>
                <a:lnTo>
                  <a:pt x="3373697" y="6450019"/>
                </a:lnTo>
                <a:lnTo>
                  <a:pt x="3502746" y="6459851"/>
                </a:lnTo>
                <a:lnTo>
                  <a:pt x="3502746" y="6452477"/>
                </a:lnTo>
                <a:lnTo>
                  <a:pt x="3631794" y="6459851"/>
                </a:lnTo>
                <a:lnTo>
                  <a:pt x="3631794" y="6454935"/>
                </a:lnTo>
                <a:lnTo>
                  <a:pt x="3640398" y="6454935"/>
                </a:lnTo>
                <a:lnTo>
                  <a:pt x="3720284" y="6457393"/>
                </a:lnTo>
                <a:lnTo>
                  <a:pt x="3720284" y="6459851"/>
                </a:lnTo>
                <a:lnTo>
                  <a:pt x="5711320" y="6501639"/>
                </a:lnTo>
                <a:lnTo>
                  <a:pt x="3720284" y="6501639"/>
                </a:lnTo>
                <a:lnTo>
                  <a:pt x="3720284" y="6504097"/>
                </a:lnTo>
                <a:lnTo>
                  <a:pt x="3602297" y="6501639"/>
                </a:lnTo>
                <a:lnTo>
                  <a:pt x="3602297" y="6505326"/>
                </a:lnTo>
                <a:lnTo>
                  <a:pt x="3484310" y="6501639"/>
                </a:lnTo>
                <a:lnTo>
                  <a:pt x="3484310" y="6507783"/>
                </a:lnTo>
                <a:lnTo>
                  <a:pt x="3366323" y="6501639"/>
                </a:lnTo>
                <a:lnTo>
                  <a:pt x="3366323" y="6510241"/>
                </a:lnTo>
                <a:lnTo>
                  <a:pt x="3248335" y="6501639"/>
                </a:lnTo>
                <a:lnTo>
                  <a:pt x="3248335" y="6512699"/>
                </a:lnTo>
                <a:lnTo>
                  <a:pt x="3130348" y="6501639"/>
                </a:lnTo>
                <a:lnTo>
                  <a:pt x="3129120" y="6516387"/>
                </a:lnTo>
                <a:lnTo>
                  <a:pt x="3011133" y="6501639"/>
                </a:lnTo>
                <a:lnTo>
                  <a:pt x="3009903" y="6518845"/>
                </a:lnTo>
                <a:lnTo>
                  <a:pt x="2893145" y="6501639"/>
                </a:lnTo>
                <a:lnTo>
                  <a:pt x="2890687" y="6522531"/>
                </a:lnTo>
                <a:lnTo>
                  <a:pt x="2775158" y="6501639"/>
                </a:lnTo>
                <a:lnTo>
                  <a:pt x="2771470" y="6526219"/>
                </a:lnTo>
                <a:lnTo>
                  <a:pt x="2657171" y="6501639"/>
                </a:lnTo>
                <a:lnTo>
                  <a:pt x="2652255" y="6528677"/>
                </a:lnTo>
                <a:lnTo>
                  <a:pt x="2539184" y="6501639"/>
                </a:lnTo>
                <a:lnTo>
                  <a:pt x="2533038" y="6533593"/>
                </a:lnTo>
                <a:lnTo>
                  <a:pt x="2421196" y="6501639"/>
                </a:lnTo>
                <a:lnTo>
                  <a:pt x="2413822" y="6537280"/>
                </a:lnTo>
                <a:lnTo>
                  <a:pt x="2303209" y="6501639"/>
                </a:lnTo>
                <a:lnTo>
                  <a:pt x="2293377" y="6540968"/>
                </a:lnTo>
                <a:lnTo>
                  <a:pt x="2185222" y="6501639"/>
                </a:lnTo>
                <a:lnTo>
                  <a:pt x="2172932" y="6545884"/>
                </a:lnTo>
                <a:lnTo>
                  <a:pt x="2067235" y="6501639"/>
                </a:lnTo>
                <a:lnTo>
                  <a:pt x="2051257" y="6550800"/>
                </a:lnTo>
                <a:lnTo>
                  <a:pt x="1949247" y="6501639"/>
                </a:lnTo>
                <a:lnTo>
                  <a:pt x="1929583" y="6554488"/>
                </a:lnTo>
                <a:lnTo>
                  <a:pt x="1831260" y="6501639"/>
                </a:lnTo>
                <a:lnTo>
                  <a:pt x="1806680" y="6559402"/>
                </a:lnTo>
                <a:lnTo>
                  <a:pt x="1713273" y="6501639"/>
                </a:lnTo>
                <a:lnTo>
                  <a:pt x="1683776" y="6564320"/>
                </a:lnTo>
                <a:lnTo>
                  <a:pt x="1595286" y="6501639"/>
                </a:lnTo>
                <a:lnTo>
                  <a:pt x="1559643" y="6565548"/>
                </a:lnTo>
                <a:lnTo>
                  <a:pt x="1685005" y="6654039"/>
                </a:lnTo>
                <a:lnTo>
                  <a:pt x="1718189" y="6593815"/>
                </a:lnTo>
                <a:lnTo>
                  <a:pt x="1815282" y="6654039"/>
                </a:lnTo>
                <a:lnTo>
                  <a:pt x="1842321" y="6598732"/>
                </a:lnTo>
                <a:lnTo>
                  <a:pt x="1945560" y="6654039"/>
                </a:lnTo>
                <a:lnTo>
                  <a:pt x="1967682" y="6602419"/>
                </a:lnTo>
                <a:lnTo>
                  <a:pt x="2075837" y="6654039"/>
                </a:lnTo>
                <a:lnTo>
                  <a:pt x="2093044" y="6607335"/>
                </a:lnTo>
                <a:lnTo>
                  <a:pt x="2204887" y="6654039"/>
                </a:lnTo>
                <a:lnTo>
                  <a:pt x="2218405" y="6611022"/>
                </a:lnTo>
                <a:lnTo>
                  <a:pt x="2333934" y="6654039"/>
                </a:lnTo>
                <a:lnTo>
                  <a:pt x="2344996" y="6615939"/>
                </a:lnTo>
                <a:lnTo>
                  <a:pt x="2464212" y="6654039"/>
                </a:lnTo>
                <a:lnTo>
                  <a:pt x="2472816" y="6619626"/>
                </a:lnTo>
                <a:lnTo>
                  <a:pt x="2593261" y="6654039"/>
                </a:lnTo>
                <a:lnTo>
                  <a:pt x="2598177" y="6625772"/>
                </a:lnTo>
                <a:lnTo>
                  <a:pt x="2721081" y="6655267"/>
                </a:lnTo>
                <a:lnTo>
                  <a:pt x="2725997" y="6629458"/>
                </a:lnTo>
                <a:lnTo>
                  <a:pt x="2851358" y="6655267"/>
                </a:lnTo>
                <a:lnTo>
                  <a:pt x="2855045" y="6633144"/>
                </a:lnTo>
                <a:lnTo>
                  <a:pt x="2981636" y="6655267"/>
                </a:lnTo>
                <a:lnTo>
                  <a:pt x="2984094" y="6636832"/>
                </a:lnTo>
                <a:lnTo>
                  <a:pt x="3110684" y="6655267"/>
                </a:lnTo>
                <a:lnTo>
                  <a:pt x="3113142" y="6639290"/>
                </a:lnTo>
                <a:lnTo>
                  <a:pt x="3240961" y="6655267"/>
                </a:lnTo>
                <a:lnTo>
                  <a:pt x="3242191" y="6642977"/>
                </a:lnTo>
                <a:lnTo>
                  <a:pt x="3371239" y="6655267"/>
                </a:lnTo>
                <a:lnTo>
                  <a:pt x="3372468" y="6645435"/>
                </a:lnTo>
                <a:lnTo>
                  <a:pt x="3501516" y="6655267"/>
                </a:lnTo>
                <a:lnTo>
                  <a:pt x="3501516" y="6647893"/>
                </a:lnTo>
                <a:lnTo>
                  <a:pt x="3630565" y="6655267"/>
                </a:lnTo>
                <a:lnTo>
                  <a:pt x="3630565" y="6650352"/>
                </a:lnTo>
                <a:lnTo>
                  <a:pt x="3639168" y="6650352"/>
                </a:lnTo>
                <a:lnTo>
                  <a:pt x="3719056" y="6652810"/>
                </a:lnTo>
                <a:lnTo>
                  <a:pt x="3719056" y="6654039"/>
                </a:lnTo>
                <a:lnTo>
                  <a:pt x="5715007" y="6700742"/>
                </a:lnTo>
                <a:lnTo>
                  <a:pt x="3716598" y="6700742"/>
                </a:lnTo>
                <a:lnTo>
                  <a:pt x="3716598" y="6701972"/>
                </a:lnTo>
                <a:lnTo>
                  <a:pt x="3598611" y="6699514"/>
                </a:lnTo>
                <a:lnTo>
                  <a:pt x="3598611" y="6703200"/>
                </a:lnTo>
                <a:lnTo>
                  <a:pt x="3480623" y="6699514"/>
                </a:lnTo>
                <a:lnTo>
                  <a:pt x="3480623" y="6705658"/>
                </a:lnTo>
                <a:lnTo>
                  <a:pt x="3362636" y="6699514"/>
                </a:lnTo>
                <a:lnTo>
                  <a:pt x="3362636" y="6708116"/>
                </a:lnTo>
                <a:lnTo>
                  <a:pt x="3244649" y="6699514"/>
                </a:lnTo>
                <a:lnTo>
                  <a:pt x="3244649" y="6710574"/>
                </a:lnTo>
                <a:lnTo>
                  <a:pt x="3126662" y="6699514"/>
                </a:lnTo>
                <a:lnTo>
                  <a:pt x="3125432" y="6714262"/>
                </a:lnTo>
                <a:lnTo>
                  <a:pt x="3007445" y="6699514"/>
                </a:lnTo>
                <a:lnTo>
                  <a:pt x="3006216" y="6716719"/>
                </a:lnTo>
                <a:lnTo>
                  <a:pt x="2889458" y="6699514"/>
                </a:lnTo>
                <a:lnTo>
                  <a:pt x="2887000" y="6720406"/>
                </a:lnTo>
                <a:lnTo>
                  <a:pt x="2771470" y="6699514"/>
                </a:lnTo>
                <a:lnTo>
                  <a:pt x="2767784" y="6724094"/>
                </a:lnTo>
                <a:lnTo>
                  <a:pt x="2653483" y="6699514"/>
                </a:lnTo>
                <a:lnTo>
                  <a:pt x="2648567" y="6726552"/>
                </a:lnTo>
                <a:lnTo>
                  <a:pt x="2535496" y="6699514"/>
                </a:lnTo>
                <a:lnTo>
                  <a:pt x="2529351" y="6731467"/>
                </a:lnTo>
                <a:lnTo>
                  <a:pt x="2417509" y="6699514"/>
                </a:lnTo>
                <a:lnTo>
                  <a:pt x="2410134" y="6735155"/>
                </a:lnTo>
                <a:lnTo>
                  <a:pt x="2299521" y="6699514"/>
                </a:lnTo>
                <a:lnTo>
                  <a:pt x="2289689" y="6738843"/>
                </a:lnTo>
                <a:lnTo>
                  <a:pt x="2181534" y="6699514"/>
                </a:lnTo>
                <a:lnTo>
                  <a:pt x="2169244" y="6743757"/>
                </a:lnTo>
                <a:lnTo>
                  <a:pt x="2063547" y="6699514"/>
                </a:lnTo>
                <a:lnTo>
                  <a:pt x="2047570" y="6748675"/>
                </a:lnTo>
                <a:lnTo>
                  <a:pt x="1945560" y="6699514"/>
                </a:lnTo>
                <a:lnTo>
                  <a:pt x="1925895" y="6752361"/>
                </a:lnTo>
                <a:lnTo>
                  <a:pt x="1827572" y="6699514"/>
                </a:lnTo>
                <a:lnTo>
                  <a:pt x="1802992" y="6757277"/>
                </a:lnTo>
                <a:lnTo>
                  <a:pt x="1709585" y="6699514"/>
                </a:lnTo>
                <a:lnTo>
                  <a:pt x="1680088" y="6762194"/>
                </a:lnTo>
                <a:lnTo>
                  <a:pt x="1591598" y="6699514"/>
                </a:lnTo>
                <a:lnTo>
                  <a:pt x="1557758" y="6760194"/>
                </a:lnTo>
                <a:lnTo>
                  <a:pt x="1477299" y="6695826"/>
                </a:lnTo>
                <a:lnTo>
                  <a:pt x="1440428" y="6754819"/>
                </a:lnTo>
                <a:lnTo>
                  <a:pt x="1557185" y="6848226"/>
                </a:lnTo>
                <a:lnTo>
                  <a:pt x="1593698" y="6789805"/>
                </a:lnTo>
                <a:lnTo>
                  <a:pt x="1682547" y="6851912"/>
                </a:lnTo>
                <a:lnTo>
                  <a:pt x="1715731" y="6791690"/>
                </a:lnTo>
                <a:lnTo>
                  <a:pt x="1812824" y="6851912"/>
                </a:lnTo>
                <a:lnTo>
                  <a:pt x="1839863" y="6796607"/>
                </a:lnTo>
                <a:lnTo>
                  <a:pt x="1943102" y="6851912"/>
                </a:lnTo>
                <a:lnTo>
                  <a:pt x="1965224" y="6800294"/>
                </a:lnTo>
                <a:lnTo>
                  <a:pt x="2073379" y="6851912"/>
                </a:lnTo>
                <a:lnTo>
                  <a:pt x="2090586" y="6805209"/>
                </a:lnTo>
                <a:lnTo>
                  <a:pt x="2202428" y="6851912"/>
                </a:lnTo>
                <a:lnTo>
                  <a:pt x="2215947" y="6808897"/>
                </a:lnTo>
                <a:lnTo>
                  <a:pt x="2331476" y="6851912"/>
                </a:lnTo>
                <a:lnTo>
                  <a:pt x="2342538" y="6813813"/>
                </a:lnTo>
                <a:lnTo>
                  <a:pt x="2461754" y="6851912"/>
                </a:lnTo>
                <a:lnTo>
                  <a:pt x="2470358" y="6817499"/>
                </a:lnTo>
                <a:lnTo>
                  <a:pt x="2592031" y="6851912"/>
                </a:lnTo>
                <a:lnTo>
                  <a:pt x="2598177" y="6822417"/>
                </a:lnTo>
                <a:lnTo>
                  <a:pt x="2721081" y="6851912"/>
                </a:lnTo>
                <a:lnTo>
                  <a:pt x="2725997" y="6826103"/>
                </a:lnTo>
                <a:lnTo>
                  <a:pt x="2851358" y="6851912"/>
                </a:lnTo>
                <a:lnTo>
                  <a:pt x="2855045" y="6829790"/>
                </a:lnTo>
                <a:lnTo>
                  <a:pt x="2981636" y="6851912"/>
                </a:lnTo>
                <a:lnTo>
                  <a:pt x="2984094" y="6833478"/>
                </a:lnTo>
                <a:lnTo>
                  <a:pt x="3110684" y="6851912"/>
                </a:lnTo>
                <a:lnTo>
                  <a:pt x="3111913" y="6835936"/>
                </a:lnTo>
                <a:lnTo>
                  <a:pt x="3239733" y="6851912"/>
                </a:lnTo>
                <a:lnTo>
                  <a:pt x="3240961" y="6839622"/>
                </a:lnTo>
                <a:lnTo>
                  <a:pt x="3370010" y="6851912"/>
                </a:lnTo>
                <a:lnTo>
                  <a:pt x="3371239" y="6842080"/>
                </a:lnTo>
                <a:lnTo>
                  <a:pt x="3500288" y="6851912"/>
                </a:lnTo>
                <a:lnTo>
                  <a:pt x="3500288" y="6844538"/>
                </a:lnTo>
                <a:lnTo>
                  <a:pt x="3629336" y="6851912"/>
                </a:lnTo>
                <a:lnTo>
                  <a:pt x="3629336" y="6848226"/>
                </a:lnTo>
                <a:lnTo>
                  <a:pt x="3637940" y="6848226"/>
                </a:lnTo>
                <a:lnTo>
                  <a:pt x="3717826" y="6850684"/>
                </a:lnTo>
                <a:lnTo>
                  <a:pt x="3717826" y="6851912"/>
                </a:lnTo>
                <a:lnTo>
                  <a:pt x="4009865" y="6858000"/>
                </a:lnTo>
                <a:lnTo>
                  <a:pt x="0" y="6858000"/>
                </a:lnTo>
                <a:lnTo>
                  <a:pt x="0" y="6848226"/>
                </a:lnTo>
                <a:lnTo>
                  <a:pt x="60222" y="6848226"/>
                </a:lnTo>
                <a:lnTo>
                  <a:pt x="60222" y="6694596"/>
                </a:lnTo>
                <a:lnTo>
                  <a:pt x="0" y="6694596"/>
                </a:lnTo>
                <a:lnTo>
                  <a:pt x="0" y="6654039"/>
                </a:lnTo>
                <a:lnTo>
                  <a:pt x="60222" y="6654039"/>
                </a:lnTo>
                <a:lnTo>
                  <a:pt x="60222" y="6504097"/>
                </a:lnTo>
                <a:lnTo>
                  <a:pt x="0" y="6504097"/>
                </a:lnTo>
                <a:lnTo>
                  <a:pt x="0" y="6462309"/>
                </a:lnTo>
                <a:lnTo>
                  <a:pt x="60222" y="6462309"/>
                </a:lnTo>
                <a:lnTo>
                  <a:pt x="60222" y="6308681"/>
                </a:lnTo>
                <a:lnTo>
                  <a:pt x="0" y="6308681"/>
                </a:lnTo>
                <a:lnTo>
                  <a:pt x="0" y="6271810"/>
                </a:lnTo>
                <a:lnTo>
                  <a:pt x="60222" y="6271810"/>
                </a:lnTo>
                <a:lnTo>
                  <a:pt x="60222" y="6118180"/>
                </a:lnTo>
                <a:lnTo>
                  <a:pt x="0" y="6118180"/>
                </a:lnTo>
                <a:lnTo>
                  <a:pt x="0" y="6081309"/>
                </a:lnTo>
                <a:lnTo>
                  <a:pt x="60222" y="6081309"/>
                </a:lnTo>
                <a:lnTo>
                  <a:pt x="60222" y="5927679"/>
                </a:lnTo>
                <a:lnTo>
                  <a:pt x="0" y="5927679"/>
                </a:lnTo>
                <a:lnTo>
                  <a:pt x="0" y="5888351"/>
                </a:lnTo>
                <a:lnTo>
                  <a:pt x="60222" y="5888351"/>
                </a:lnTo>
                <a:lnTo>
                  <a:pt x="60222" y="5734722"/>
                </a:lnTo>
                <a:lnTo>
                  <a:pt x="0" y="5734722"/>
                </a:lnTo>
                <a:lnTo>
                  <a:pt x="0" y="5695392"/>
                </a:lnTo>
                <a:lnTo>
                  <a:pt x="60222" y="5695392"/>
                </a:lnTo>
                <a:lnTo>
                  <a:pt x="60222" y="5539305"/>
                </a:lnTo>
                <a:lnTo>
                  <a:pt x="0" y="5539305"/>
                </a:lnTo>
                <a:lnTo>
                  <a:pt x="0" y="5501205"/>
                </a:lnTo>
                <a:lnTo>
                  <a:pt x="60222" y="5501205"/>
                </a:lnTo>
                <a:lnTo>
                  <a:pt x="60222" y="5347577"/>
                </a:lnTo>
                <a:lnTo>
                  <a:pt x="0" y="5347577"/>
                </a:lnTo>
                <a:lnTo>
                  <a:pt x="0" y="5313162"/>
                </a:lnTo>
                <a:lnTo>
                  <a:pt x="60222" y="5313162"/>
                </a:lnTo>
                <a:lnTo>
                  <a:pt x="60222" y="5160762"/>
                </a:lnTo>
                <a:lnTo>
                  <a:pt x="0" y="5160762"/>
                </a:lnTo>
                <a:lnTo>
                  <a:pt x="0" y="5118975"/>
                </a:lnTo>
                <a:lnTo>
                  <a:pt x="60222" y="5118975"/>
                </a:lnTo>
                <a:lnTo>
                  <a:pt x="60222" y="4966575"/>
                </a:lnTo>
                <a:lnTo>
                  <a:pt x="0" y="4966575"/>
                </a:lnTo>
                <a:lnTo>
                  <a:pt x="0" y="4926017"/>
                </a:lnTo>
                <a:lnTo>
                  <a:pt x="60222" y="4926017"/>
                </a:lnTo>
                <a:lnTo>
                  <a:pt x="60222" y="4772388"/>
                </a:lnTo>
                <a:lnTo>
                  <a:pt x="0" y="4772388"/>
                </a:lnTo>
                <a:lnTo>
                  <a:pt x="0" y="4731830"/>
                </a:lnTo>
                <a:lnTo>
                  <a:pt x="60222" y="4731830"/>
                </a:lnTo>
                <a:lnTo>
                  <a:pt x="60222" y="4579430"/>
                </a:lnTo>
                <a:lnTo>
                  <a:pt x="0" y="4579430"/>
                </a:lnTo>
                <a:lnTo>
                  <a:pt x="0" y="4537643"/>
                </a:lnTo>
                <a:lnTo>
                  <a:pt x="60222" y="4537643"/>
                </a:lnTo>
                <a:lnTo>
                  <a:pt x="60222" y="4385243"/>
                </a:lnTo>
                <a:lnTo>
                  <a:pt x="0" y="4385243"/>
                </a:lnTo>
                <a:lnTo>
                  <a:pt x="0" y="4343456"/>
                </a:lnTo>
                <a:lnTo>
                  <a:pt x="60222" y="4343456"/>
                </a:lnTo>
                <a:lnTo>
                  <a:pt x="60222" y="4191055"/>
                </a:lnTo>
                <a:lnTo>
                  <a:pt x="0" y="4191055"/>
                </a:lnTo>
                <a:lnTo>
                  <a:pt x="0" y="4149268"/>
                </a:lnTo>
                <a:lnTo>
                  <a:pt x="60222" y="4149268"/>
                </a:lnTo>
                <a:lnTo>
                  <a:pt x="60222" y="4145580"/>
                </a:lnTo>
                <a:lnTo>
                  <a:pt x="60222" y="3996868"/>
                </a:lnTo>
                <a:lnTo>
                  <a:pt x="60222" y="3993180"/>
                </a:lnTo>
                <a:lnTo>
                  <a:pt x="0" y="3993180"/>
                </a:lnTo>
                <a:lnTo>
                  <a:pt x="0" y="3953851"/>
                </a:lnTo>
                <a:lnTo>
                  <a:pt x="60222" y="3953851"/>
                </a:lnTo>
                <a:lnTo>
                  <a:pt x="60222" y="3800223"/>
                </a:lnTo>
                <a:lnTo>
                  <a:pt x="0" y="3800223"/>
                </a:lnTo>
                <a:lnTo>
                  <a:pt x="0" y="3762122"/>
                </a:lnTo>
                <a:lnTo>
                  <a:pt x="60222" y="3762122"/>
                </a:lnTo>
                <a:lnTo>
                  <a:pt x="60222" y="3608493"/>
                </a:lnTo>
                <a:lnTo>
                  <a:pt x="0" y="3608493"/>
                </a:lnTo>
                <a:lnTo>
                  <a:pt x="0" y="3574080"/>
                </a:lnTo>
                <a:lnTo>
                  <a:pt x="60222" y="3574080"/>
                </a:lnTo>
                <a:lnTo>
                  <a:pt x="60222" y="3420451"/>
                </a:lnTo>
                <a:lnTo>
                  <a:pt x="0" y="3420451"/>
                </a:lnTo>
                <a:lnTo>
                  <a:pt x="0" y="3379893"/>
                </a:lnTo>
                <a:lnTo>
                  <a:pt x="60222" y="3379893"/>
                </a:lnTo>
                <a:lnTo>
                  <a:pt x="60222" y="3226263"/>
                </a:lnTo>
                <a:lnTo>
                  <a:pt x="0" y="3226263"/>
                </a:lnTo>
                <a:lnTo>
                  <a:pt x="0" y="3185706"/>
                </a:lnTo>
                <a:lnTo>
                  <a:pt x="60222" y="3185706"/>
                </a:lnTo>
                <a:lnTo>
                  <a:pt x="60222" y="3032076"/>
                </a:lnTo>
                <a:lnTo>
                  <a:pt x="0" y="3032076"/>
                </a:lnTo>
                <a:lnTo>
                  <a:pt x="0" y="2990289"/>
                </a:lnTo>
                <a:lnTo>
                  <a:pt x="60222" y="2990289"/>
                </a:lnTo>
                <a:lnTo>
                  <a:pt x="60222" y="2836660"/>
                </a:lnTo>
                <a:lnTo>
                  <a:pt x="0" y="2836660"/>
                </a:lnTo>
                <a:lnTo>
                  <a:pt x="0" y="2794873"/>
                </a:lnTo>
                <a:lnTo>
                  <a:pt x="60222" y="2794873"/>
                </a:lnTo>
                <a:lnTo>
                  <a:pt x="60222" y="2641243"/>
                </a:lnTo>
                <a:lnTo>
                  <a:pt x="0" y="2641243"/>
                </a:lnTo>
                <a:lnTo>
                  <a:pt x="0" y="2600686"/>
                </a:lnTo>
                <a:lnTo>
                  <a:pt x="60222" y="2600686"/>
                </a:lnTo>
                <a:lnTo>
                  <a:pt x="60222" y="2447056"/>
                </a:lnTo>
                <a:lnTo>
                  <a:pt x="0" y="2447056"/>
                </a:lnTo>
                <a:lnTo>
                  <a:pt x="0" y="2406498"/>
                </a:lnTo>
                <a:lnTo>
                  <a:pt x="60222" y="2406498"/>
                </a:lnTo>
                <a:lnTo>
                  <a:pt x="60222" y="2254098"/>
                </a:lnTo>
                <a:lnTo>
                  <a:pt x="0" y="2254098"/>
                </a:lnTo>
                <a:lnTo>
                  <a:pt x="0" y="2217227"/>
                </a:lnTo>
                <a:lnTo>
                  <a:pt x="60222" y="2217227"/>
                </a:lnTo>
                <a:lnTo>
                  <a:pt x="60222" y="2068514"/>
                </a:lnTo>
                <a:lnTo>
                  <a:pt x="0" y="2068514"/>
                </a:lnTo>
                <a:lnTo>
                  <a:pt x="0" y="2031643"/>
                </a:lnTo>
                <a:lnTo>
                  <a:pt x="60222" y="2031643"/>
                </a:lnTo>
                <a:lnTo>
                  <a:pt x="60222" y="1878014"/>
                </a:lnTo>
                <a:lnTo>
                  <a:pt x="0" y="1878014"/>
                </a:lnTo>
                <a:lnTo>
                  <a:pt x="0" y="1838685"/>
                </a:lnTo>
                <a:lnTo>
                  <a:pt x="60222" y="1838685"/>
                </a:lnTo>
                <a:lnTo>
                  <a:pt x="60222" y="1685055"/>
                </a:lnTo>
                <a:lnTo>
                  <a:pt x="0" y="1685055"/>
                </a:lnTo>
                <a:lnTo>
                  <a:pt x="0" y="1645726"/>
                </a:lnTo>
                <a:lnTo>
                  <a:pt x="60222" y="1645726"/>
                </a:lnTo>
                <a:lnTo>
                  <a:pt x="60222" y="1492097"/>
                </a:lnTo>
                <a:lnTo>
                  <a:pt x="0" y="1492097"/>
                </a:lnTo>
                <a:lnTo>
                  <a:pt x="0" y="1453997"/>
                </a:lnTo>
                <a:lnTo>
                  <a:pt x="60222" y="1453997"/>
                </a:lnTo>
                <a:lnTo>
                  <a:pt x="60222" y="1300368"/>
                </a:lnTo>
                <a:lnTo>
                  <a:pt x="0" y="1300368"/>
                </a:lnTo>
                <a:lnTo>
                  <a:pt x="0" y="1265955"/>
                </a:lnTo>
                <a:lnTo>
                  <a:pt x="60222" y="1265955"/>
                </a:lnTo>
                <a:lnTo>
                  <a:pt x="60222" y="1112325"/>
                </a:lnTo>
                <a:lnTo>
                  <a:pt x="0" y="1112325"/>
                </a:lnTo>
                <a:lnTo>
                  <a:pt x="0" y="1071768"/>
                </a:lnTo>
                <a:lnTo>
                  <a:pt x="60222" y="1071768"/>
                </a:lnTo>
                <a:lnTo>
                  <a:pt x="60222" y="918138"/>
                </a:lnTo>
                <a:lnTo>
                  <a:pt x="0" y="918138"/>
                </a:lnTo>
                <a:lnTo>
                  <a:pt x="0" y="877581"/>
                </a:lnTo>
                <a:lnTo>
                  <a:pt x="60222" y="877581"/>
                </a:lnTo>
                <a:lnTo>
                  <a:pt x="60222" y="723951"/>
                </a:lnTo>
                <a:lnTo>
                  <a:pt x="0" y="723951"/>
                </a:lnTo>
                <a:lnTo>
                  <a:pt x="0" y="683393"/>
                </a:lnTo>
                <a:lnTo>
                  <a:pt x="60222" y="683393"/>
                </a:lnTo>
                <a:lnTo>
                  <a:pt x="60222" y="529763"/>
                </a:lnTo>
                <a:lnTo>
                  <a:pt x="0" y="529763"/>
                </a:lnTo>
                <a:lnTo>
                  <a:pt x="0" y="487976"/>
                </a:lnTo>
                <a:lnTo>
                  <a:pt x="60222" y="487976"/>
                </a:lnTo>
                <a:lnTo>
                  <a:pt x="60222" y="334348"/>
                </a:lnTo>
                <a:lnTo>
                  <a:pt x="0" y="334348"/>
                </a:lnTo>
                <a:lnTo>
                  <a:pt x="0" y="292561"/>
                </a:lnTo>
                <a:lnTo>
                  <a:pt x="60222" y="292561"/>
                </a:lnTo>
                <a:lnTo>
                  <a:pt x="60222" y="138931"/>
                </a:lnTo>
                <a:lnTo>
                  <a:pt x="0" y="138931"/>
                </a:lnTo>
                <a:lnTo>
                  <a:pt x="0" y="97144"/>
                </a:lnTo>
                <a:lnTo>
                  <a:pt x="60222" y="97144"/>
                </a:lnTo>
                <a:lnTo>
                  <a:pt x="60222" y="0"/>
                </a:lnTo>
                <a:close/>
                <a:moveTo>
                  <a:pt x="179439" y="137702"/>
                </a:moveTo>
                <a:lnTo>
                  <a:pt x="120445" y="142619"/>
                </a:lnTo>
                <a:lnTo>
                  <a:pt x="129048" y="291331"/>
                </a:lnTo>
                <a:lnTo>
                  <a:pt x="189271" y="286415"/>
                </a:lnTo>
                <a:lnTo>
                  <a:pt x="179439" y="137702"/>
                </a:lnTo>
                <a:close/>
                <a:moveTo>
                  <a:pt x="296197" y="137702"/>
                </a:moveTo>
                <a:lnTo>
                  <a:pt x="240891" y="147535"/>
                </a:lnTo>
                <a:lnTo>
                  <a:pt x="259326" y="291331"/>
                </a:lnTo>
                <a:lnTo>
                  <a:pt x="315861" y="281499"/>
                </a:lnTo>
                <a:lnTo>
                  <a:pt x="296197" y="137702"/>
                </a:lnTo>
                <a:close/>
                <a:moveTo>
                  <a:pt x="415413" y="137702"/>
                </a:moveTo>
                <a:lnTo>
                  <a:pt x="360106" y="152451"/>
                </a:lnTo>
                <a:lnTo>
                  <a:pt x="389603" y="291331"/>
                </a:lnTo>
                <a:lnTo>
                  <a:pt x="444910" y="276583"/>
                </a:lnTo>
                <a:lnTo>
                  <a:pt x="415413" y="137702"/>
                </a:lnTo>
                <a:close/>
                <a:moveTo>
                  <a:pt x="532171" y="137702"/>
                </a:moveTo>
                <a:lnTo>
                  <a:pt x="479323" y="157367"/>
                </a:lnTo>
                <a:lnTo>
                  <a:pt x="518652" y="291331"/>
                </a:lnTo>
                <a:lnTo>
                  <a:pt x="571500" y="271666"/>
                </a:lnTo>
                <a:lnTo>
                  <a:pt x="532171" y="137702"/>
                </a:lnTo>
                <a:close/>
                <a:moveTo>
                  <a:pt x="651388" y="137702"/>
                </a:moveTo>
                <a:lnTo>
                  <a:pt x="599769" y="162283"/>
                </a:lnTo>
                <a:lnTo>
                  <a:pt x="648930" y="291331"/>
                </a:lnTo>
                <a:lnTo>
                  <a:pt x="699320" y="266750"/>
                </a:lnTo>
                <a:lnTo>
                  <a:pt x="651388" y="137702"/>
                </a:lnTo>
                <a:close/>
                <a:moveTo>
                  <a:pt x="768145" y="137702"/>
                </a:moveTo>
                <a:lnTo>
                  <a:pt x="720214" y="168428"/>
                </a:lnTo>
                <a:lnTo>
                  <a:pt x="777978" y="291331"/>
                </a:lnTo>
                <a:lnTo>
                  <a:pt x="827139" y="261834"/>
                </a:lnTo>
                <a:lnTo>
                  <a:pt x="768145" y="137702"/>
                </a:lnTo>
                <a:close/>
                <a:moveTo>
                  <a:pt x="1005350" y="137702"/>
                </a:moveTo>
                <a:lnTo>
                  <a:pt x="959875" y="177031"/>
                </a:lnTo>
                <a:lnTo>
                  <a:pt x="1037304" y="290103"/>
                </a:lnTo>
                <a:lnTo>
                  <a:pt x="1082778" y="250773"/>
                </a:lnTo>
                <a:lnTo>
                  <a:pt x="1005350" y="137702"/>
                </a:lnTo>
                <a:close/>
                <a:moveTo>
                  <a:pt x="1123337" y="137702"/>
                </a:moveTo>
                <a:lnTo>
                  <a:pt x="1080320" y="183176"/>
                </a:lnTo>
                <a:lnTo>
                  <a:pt x="1167582" y="291331"/>
                </a:lnTo>
                <a:lnTo>
                  <a:pt x="1210598" y="245857"/>
                </a:lnTo>
                <a:lnTo>
                  <a:pt x="1123337" y="137702"/>
                </a:lnTo>
                <a:close/>
                <a:moveTo>
                  <a:pt x="1241324" y="137702"/>
                </a:moveTo>
                <a:lnTo>
                  <a:pt x="1200765" y="186864"/>
                </a:lnTo>
                <a:lnTo>
                  <a:pt x="1297860" y="291331"/>
                </a:lnTo>
                <a:lnTo>
                  <a:pt x="1338417" y="242170"/>
                </a:lnTo>
                <a:lnTo>
                  <a:pt x="1241324" y="137702"/>
                </a:lnTo>
                <a:close/>
                <a:moveTo>
                  <a:pt x="1359311" y="138931"/>
                </a:moveTo>
                <a:lnTo>
                  <a:pt x="1319982" y="193008"/>
                </a:lnTo>
                <a:lnTo>
                  <a:pt x="1426908" y="291331"/>
                </a:lnTo>
                <a:lnTo>
                  <a:pt x="1466237" y="237253"/>
                </a:lnTo>
                <a:lnTo>
                  <a:pt x="1359311" y="138931"/>
                </a:lnTo>
                <a:close/>
                <a:moveTo>
                  <a:pt x="1477299" y="138931"/>
                </a:moveTo>
                <a:lnTo>
                  <a:pt x="1440428" y="197924"/>
                </a:lnTo>
                <a:lnTo>
                  <a:pt x="1557185" y="291331"/>
                </a:lnTo>
                <a:lnTo>
                  <a:pt x="1594056" y="232337"/>
                </a:lnTo>
                <a:lnTo>
                  <a:pt x="1477299" y="138931"/>
                </a:lnTo>
                <a:close/>
                <a:moveTo>
                  <a:pt x="887362" y="138931"/>
                </a:moveTo>
                <a:lnTo>
                  <a:pt x="840659" y="173344"/>
                </a:lnTo>
                <a:lnTo>
                  <a:pt x="908255" y="291331"/>
                </a:lnTo>
                <a:lnTo>
                  <a:pt x="954959" y="258148"/>
                </a:lnTo>
                <a:lnTo>
                  <a:pt x="887362" y="138931"/>
                </a:lnTo>
                <a:close/>
                <a:moveTo>
                  <a:pt x="179439" y="331890"/>
                </a:moveTo>
                <a:lnTo>
                  <a:pt x="120445" y="336806"/>
                </a:lnTo>
                <a:lnTo>
                  <a:pt x="129048" y="485518"/>
                </a:lnTo>
                <a:lnTo>
                  <a:pt x="189271" y="480602"/>
                </a:lnTo>
                <a:lnTo>
                  <a:pt x="179439" y="331890"/>
                </a:lnTo>
                <a:close/>
                <a:moveTo>
                  <a:pt x="296197" y="331890"/>
                </a:moveTo>
                <a:lnTo>
                  <a:pt x="239661" y="341722"/>
                </a:lnTo>
                <a:lnTo>
                  <a:pt x="259326" y="485518"/>
                </a:lnTo>
                <a:lnTo>
                  <a:pt x="315861" y="475686"/>
                </a:lnTo>
                <a:lnTo>
                  <a:pt x="296197" y="331890"/>
                </a:lnTo>
                <a:close/>
                <a:moveTo>
                  <a:pt x="415413" y="331890"/>
                </a:moveTo>
                <a:lnTo>
                  <a:pt x="360106" y="346638"/>
                </a:lnTo>
                <a:lnTo>
                  <a:pt x="389603" y="485518"/>
                </a:lnTo>
                <a:lnTo>
                  <a:pt x="444910" y="470770"/>
                </a:lnTo>
                <a:lnTo>
                  <a:pt x="415413" y="331890"/>
                </a:lnTo>
                <a:close/>
                <a:moveTo>
                  <a:pt x="532171" y="331890"/>
                </a:moveTo>
                <a:lnTo>
                  <a:pt x="479323" y="351554"/>
                </a:lnTo>
                <a:lnTo>
                  <a:pt x="518652" y="485518"/>
                </a:lnTo>
                <a:lnTo>
                  <a:pt x="571500" y="465854"/>
                </a:lnTo>
                <a:lnTo>
                  <a:pt x="532171" y="331890"/>
                </a:lnTo>
                <a:close/>
                <a:moveTo>
                  <a:pt x="651388" y="331890"/>
                </a:moveTo>
                <a:lnTo>
                  <a:pt x="599769" y="356470"/>
                </a:lnTo>
                <a:lnTo>
                  <a:pt x="648930" y="485518"/>
                </a:lnTo>
                <a:lnTo>
                  <a:pt x="699320" y="460938"/>
                </a:lnTo>
                <a:lnTo>
                  <a:pt x="651388" y="331890"/>
                </a:lnTo>
                <a:close/>
                <a:moveTo>
                  <a:pt x="768145" y="331890"/>
                </a:moveTo>
                <a:lnTo>
                  <a:pt x="720214" y="361387"/>
                </a:lnTo>
                <a:lnTo>
                  <a:pt x="777978" y="484290"/>
                </a:lnTo>
                <a:lnTo>
                  <a:pt x="827139" y="454793"/>
                </a:lnTo>
                <a:lnTo>
                  <a:pt x="768145" y="331890"/>
                </a:lnTo>
                <a:close/>
                <a:moveTo>
                  <a:pt x="1005350" y="331890"/>
                </a:moveTo>
                <a:lnTo>
                  <a:pt x="959875" y="372447"/>
                </a:lnTo>
                <a:lnTo>
                  <a:pt x="1037304" y="485518"/>
                </a:lnTo>
                <a:lnTo>
                  <a:pt x="1082778" y="446189"/>
                </a:lnTo>
                <a:lnTo>
                  <a:pt x="1005350" y="331890"/>
                </a:lnTo>
                <a:close/>
                <a:moveTo>
                  <a:pt x="1123337" y="333118"/>
                </a:moveTo>
                <a:lnTo>
                  <a:pt x="1080320" y="377363"/>
                </a:lnTo>
                <a:lnTo>
                  <a:pt x="1167582" y="485518"/>
                </a:lnTo>
                <a:lnTo>
                  <a:pt x="1210598" y="441273"/>
                </a:lnTo>
                <a:lnTo>
                  <a:pt x="1123337" y="333118"/>
                </a:lnTo>
                <a:close/>
                <a:moveTo>
                  <a:pt x="1240094" y="333118"/>
                </a:moveTo>
                <a:lnTo>
                  <a:pt x="1199537" y="382279"/>
                </a:lnTo>
                <a:lnTo>
                  <a:pt x="1296630" y="485518"/>
                </a:lnTo>
                <a:lnTo>
                  <a:pt x="1338417" y="436357"/>
                </a:lnTo>
                <a:lnTo>
                  <a:pt x="1240094" y="333118"/>
                </a:lnTo>
                <a:close/>
                <a:moveTo>
                  <a:pt x="1359311" y="333118"/>
                </a:moveTo>
                <a:lnTo>
                  <a:pt x="1319982" y="387196"/>
                </a:lnTo>
                <a:lnTo>
                  <a:pt x="1426908" y="485518"/>
                </a:lnTo>
                <a:lnTo>
                  <a:pt x="1466237" y="431441"/>
                </a:lnTo>
                <a:lnTo>
                  <a:pt x="1359311" y="333118"/>
                </a:lnTo>
                <a:close/>
                <a:moveTo>
                  <a:pt x="1477299" y="333118"/>
                </a:moveTo>
                <a:lnTo>
                  <a:pt x="1440428" y="392112"/>
                </a:lnTo>
                <a:lnTo>
                  <a:pt x="1557185" y="485518"/>
                </a:lnTo>
                <a:lnTo>
                  <a:pt x="1594056" y="426525"/>
                </a:lnTo>
                <a:lnTo>
                  <a:pt x="1477299" y="333118"/>
                </a:lnTo>
                <a:close/>
                <a:moveTo>
                  <a:pt x="887362" y="333118"/>
                </a:moveTo>
                <a:lnTo>
                  <a:pt x="840659" y="367531"/>
                </a:lnTo>
                <a:lnTo>
                  <a:pt x="908255" y="485518"/>
                </a:lnTo>
                <a:lnTo>
                  <a:pt x="954959" y="452335"/>
                </a:lnTo>
                <a:lnTo>
                  <a:pt x="887362" y="333118"/>
                </a:lnTo>
                <a:close/>
                <a:moveTo>
                  <a:pt x="415413" y="526077"/>
                </a:moveTo>
                <a:lnTo>
                  <a:pt x="360106" y="540825"/>
                </a:lnTo>
                <a:lnTo>
                  <a:pt x="389603" y="679706"/>
                </a:lnTo>
                <a:lnTo>
                  <a:pt x="444910" y="664957"/>
                </a:lnTo>
                <a:lnTo>
                  <a:pt x="415413" y="526077"/>
                </a:lnTo>
                <a:close/>
                <a:moveTo>
                  <a:pt x="651388" y="526077"/>
                </a:moveTo>
                <a:lnTo>
                  <a:pt x="599769" y="550658"/>
                </a:lnTo>
                <a:lnTo>
                  <a:pt x="648930" y="679706"/>
                </a:lnTo>
                <a:lnTo>
                  <a:pt x="699320" y="655125"/>
                </a:lnTo>
                <a:lnTo>
                  <a:pt x="651388" y="526077"/>
                </a:lnTo>
                <a:close/>
                <a:moveTo>
                  <a:pt x="887362" y="526077"/>
                </a:moveTo>
                <a:lnTo>
                  <a:pt x="840659" y="560490"/>
                </a:lnTo>
                <a:lnTo>
                  <a:pt x="908255" y="679706"/>
                </a:lnTo>
                <a:lnTo>
                  <a:pt x="954959" y="644064"/>
                </a:lnTo>
                <a:lnTo>
                  <a:pt x="887362" y="526077"/>
                </a:lnTo>
                <a:close/>
                <a:moveTo>
                  <a:pt x="1477299" y="526077"/>
                </a:moveTo>
                <a:lnTo>
                  <a:pt x="1440428" y="585071"/>
                </a:lnTo>
                <a:lnTo>
                  <a:pt x="1557185" y="679706"/>
                </a:lnTo>
                <a:lnTo>
                  <a:pt x="1594056" y="620712"/>
                </a:lnTo>
                <a:lnTo>
                  <a:pt x="1477299" y="526077"/>
                </a:lnTo>
                <a:close/>
                <a:moveTo>
                  <a:pt x="1005350" y="527305"/>
                </a:moveTo>
                <a:lnTo>
                  <a:pt x="959875" y="565406"/>
                </a:lnTo>
                <a:lnTo>
                  <a:pt x="1037304" y="679706"/>
                </a:lnTo>
                <a:lnTo>
                  <a:pt x="1082778" y="640377"/>
                </a:lnTo>
                <a:lnTo>
                  <a:pt x="1005350" y="527305"/>
                </a:lnTo>
                <a:close/>
                <a:moveTo>
                  <a:pt x="1123337" y="527305"/>
                </a:moveTo>
                <a:lnTo>
                  <a:pt x="1080320" y="571551"/>
                </a:lnTo>
                <a:lnTo>
                  <a:pt x="1167582" y="679706"/>
                </a:lnTo>
                <a:lnTo>
                  <a:pt x="1210598" y="635460"/>
                </a:lnTo>
                <a:lnTo>
                  <a:pt x="1123337" y="527305"/>
                </a:lnTo>
                <a:close/>
                <a:moveTo>
                  <a:pt x="1241324" y="527305"/>
                </a:moveTo>
                <a:lnTo>
                  <a:pt x="1200765" y="576467"/>
                </a:lnTo>
                <a:lnTo>
                  <a:pt x="1297860" y="680935"/>
                </a:lnTo>
                <a:lnTo>
                  <a:pt x="1338417" y="631774"/>
                </a:lnTo>
                <a:lnTo>
                  <a:pt x="1241324" y="527305"/>
                </a:lnTo>
                <a:close/>
                <a:moveTo>
                  <a:pt x="1359311" y="527305"/>
                </a:moveTo>
                <a:lnTo>
                  <a:pt x="1319982" y="581383"/>
                </a:lnTo>
                <a:lnTo>
                  <a:pt x="1426908" y="679706"/>
                </a:lnTo>
                <a:lnTo>
                  <a:pt x="1466237" y="625628"/>
                </a:lnTo>
                <a:lnTo>
                  <a:pt x="1359311" y="527305"/>
                </a:lnTo>
                <a:close/>
                <a:moveTo>
                  <a:pt x="768145" y="527305"/>
                </a:moveTo>
                <a:lnTo>
                  <a:pt x="720214" y="556802"/>
                </a:lnTo>
                <a:lnTo>
                  <a:pt x="777978" y="680935"/>
                </a:lnTo>
                <a:lnTo>
                  <a:pt x="827139" y="651438"/>
                </a:lnTo>
                <a:lnTo>
                  <a:pt x="768145" y="527305"/>
                </a:lnTo>
                <a:close/>
                <a:moveTo>
                  <a:pt x="532171" y="527305"/>
                </a:moveTo>
                <a:lnTo>
                  <a:pt x="479323" y="546970"/>
                </a:lnTo>
                <a:lnTo>
                  <a:pt x="518652" y="679706"/>
                </a:lnTo>
                <a:lnTo>
                  <a:pt x="571500" y="661271"/>
                </a:lnTo>
                <a:lnTo>
                  <a:pt x="532171" y="527305"/>
                </a:lnTo>
                <a:close/>
                <a:moveTo>
                  <a:pt x="179439" y="527305"/>
                </a:moveTo>
                <a:lnTo>
                  <a:pt x="120445" y="532222"/>
                </a:lnTo>
                <a:lnTo>
                  <a:pt x="129048" y="679706"/>
                </a:lnTo>
                <a:lnTo>
                  <a:pt x="189271" y="676019"/>
                </a:lnTo>
                <a:lnTo>
                  <a:pt x="179439" y="527305"/>
                </a:lnTo>
                <a:close/>
                <a:moveTo>
                  <a:pt x="296197" y="527305"/>
                </a:moveTo>
                <a:lnTo>
                  <a:pt x="239661" y="537138"/>
                </a:lnTo>
                <a:lnTo>
                  <a:pt x="259326" y="680935"/>
                </a:lnTo>
                <a:lnTo>
                  <a:pt x="315861" y="671103"/>
                </a:lnTo>
                <a:lnTo>
                  <a:pt x="296197" y="527305"/>
                </a:lnTo>
                <a:close/>
                <a:moveTo>
                  <a:pt x="179439" y="721493"/>
                </a:moveTo>
                <a:lnTo>
                  <a:pt x="120445" y="726409"/>
                </a:lnTo>
                <a:lnTo>
                  <a:pt x="129048" y="875123"/>
                </a:lnTo>
                <a:lnTo>
                  <a:pt x="189271" y="870206"/>
                </a:lnTo>
                <a:lnTo>
                  <a:pt x="179439" y="721493"/>
                </a:lnTo>
                <a:close/>
                <a:moveTo>
                  <a:pt x="296197" y="721493"/>
                </a:moveTo>
                <a:lnTo>
                  <a:pt x="239661" y="731325"/>
                </a:lnTo>
                <a:lnTo>
                  <a:pt x="259326" y="875123"/>
                </a:lnTo>
                <a:lnTo>
                  <a:pt x="315861" y="865290"/>
                </a:lnTo>
                <a:lnTo>
                  <a:pt x="296197" y="721493"/>
                </a:lnTo>
                <a:close/>
                <a:moveTo>
                  <a:pt x="415413" y="721493"/>
                </a:moveTo>
                <a:lnTo>
                  <a:pt x="360106" y="736241"/>
                </a:lnTo>
                <a:lnTo>
                  <a:pt x="389603" y="875123"/>
                </a:lnTo>
                <a:lnTo>
                  <a:pt x="444910" y="860374"/>
                </a:lnTo>
                <a:lnTo>
                  <a:pt x="415413" y="721493"/>
                </a:lnTo>
                <a:close/>
                <a:moveTo>
                  <a:pt x="532171" y="721493"/>
                </a:moveTo>
                <a:lnTo>
                  <a:pt x="479323" y="741157"/>
                </a:lnTo>
                <a:lnTo>
                  <a:pt x="518652" y="875123"/>
                </a:lnTo>
                <a:lnTo>
                  <a:pt x="571500" y="855458"/>
                </a:lnTo>
                <a:lnTo>
                  <a:pt x="532171" y="721493"/>
                </a:lnTo>
                <a:close/>
                <a:moveTo>
                  <a:pt x="651388" y="721493"/>
                </a:moveTo>
                <a:lnTo>
                  <a:pt x="599769" y="746073"/>
                </a:lnTo>
                <a:lnTo>
                  <a:pt x="648930" y="875123"/>
                </a:lnTo>
                <a:lnTo>
                  <a:pt x="699320" y="850542"/>
                </a:lnTo>
                <a:lnTo>
                  <a:pt x="651388" y="721493"/>
                </a:lnTo>
                <a:close/>
                <a:moveTo>
                  <a:pt x="769375" y="721493"/>
                </a:moveTo>
                <a:lnTo>
                  <a:pt x="721442" y="750990"/>
                </a:lnTo>
                <a:lnTo>
                  <a:pt x="779207" y="875123"/>
                </a:lnTo>
                <a:lnTo>
                  <a:pt x="828369" y="845626"/>
                </a:lnTo>
                <a:lnTo>
                  <a:pt x="769375" y="721493"/>
                </a:lnTo>
                <a:close/>
                <a:moveTo>
                  <a:pt x="887362" y="721493"/>
                </a:moveTo>
                <a:lnTo>
                  <a:pt x="840659" y="755906"/>
                </a:lnTo>
                <a:lnTo>
                  <a:pt x="908255" y="875123"/>
                </a:lnTo>
                <a:lnTo>
                  <a:pt x="954959" y="840710"/>
                </a:lnTo>
                <a:lnTo>
                  <a:pt x="887362" y="721493"/>
                </a:lnTo>
                <a:close/>
                <a:moveTo>
                  <a:pt x="1005350" y="721493"/>
                </a:moveTo>
                <a:lnTo>
                  <a:pt x="959875" y="760822"/>
                </a:lnTo>
                <a:lnTo>
                  <a:pt x="1037304" y="873893"/>
                </a:lnTo>
                <a:lnTo>
                  <a:pt x="1082778" y="834564"/>
                </a:lnTo>
                <a:lnTo>
                  <a:pt x="1005350" y="721493"/>
                </a:lnTo>
                <a:close/>
                <a:moveTo>
                  <a:pt x="1123337" y="721493"/>
                </a:moveTo>
                <a:lnTo>
                  <a:pt x="1080320" y="765738"/>
                </a:lnTo>
                <a:lnTo>
                  <a:pt x="1167582" y="875123"/>
                </a:lnTo>
                <a:lnTo>
                  <a:pt x="1210598" y="829648"/>
                </a:lnTo>
                <a:lnTo>
                  <a:pt x="1123337" y="721493"/>
                </a:lnTo>
                <a:close/>
                <a:moveTo>
                  <a:pt x="1241324" y="721493"/>
                </a:moveTo>
                <a:lnTo>
                  <a:pt x="1200765" y="770654"/>
                </a:lnTo>
                <a:lnTo>
                  <a:pt x="1297860" y="875123"/>
                </a:lnTo>
                <a:lnTo>
                  <a:pt x="1338417" y="825961"/>
                </a:lnTo>
                <a:lnTo>
                  <a:pt x="1241324" y="721493"/>
                </a:lnTo>
                <a:close/>
                <a:moveTo>
                  <a:pt x="1477299" y="721493"/>
                </a:moveTo>
                <a:lnTo>
                  <a:pt x="1440428" y="780486"/>
                </a:lnTo>
                <a:lnTo>
                  <a:pt x="1557185" y="873893"/>
                </a:lnTo>
                <a:lnTo>
                  <a:pt x="1594056" y="814899"/>
                </a:lnTo>
                <a:lnTo>
                  <a:pt x="1477299" y="721493"/>
                </a:lnTo>
                <a:close/>
                <a:moveTo>
                  <a:pt x="1359311" y="722722"/>
                </a:moveTo>
                <a:lnTo>
                  <a:pt x="1319982" y="776800"/>
                </a:lnTo>
                <a:lnTo>
                  <a:pt x="1426908" y="876351"/>
                </a:lnTo>
                <a:lnTo>
                  <a:pt x="1466237" y="821045"/>
                </a:lnTo>
                <a:lnTo>
                  <a:pt x="1359311" y="722722"/>
                </a:lnTo>
                <a:close/>
                <a:moveTo>
                  <a:pt x="179439" y="915680"/>
                </a:moveTo>
                <a:lnTo>
                  <a:pt x="120445" y="920596"/>
                </a:lnTo>
                <a:lnTo>
                  <a:pt x="129048" y="1069310"/>
                </a:lnTo>
                <a:lnTo>
                  <a:pt x="189271" y="1064394"/>
                </a:lnTo>
                <a:lnTo>
                  <a:pt x="179439" y="915680"/>
                </a:lnTo>
                <a:close/>
                <a:moveTo>
                  <a:pt x="296197" y="915680"/>
                </a:moveTo>
                <a:lnTo>
                  <a:pt x="239661" y="925512"/>
                </a:lnTo>
                <a:lnTo>
                  <a:pt x="259326" y="1069310"/>
                </a:lnTo>
                <a:lnTo>
                  <a:pt x="315861" y="1059478"/>
                </a:lnTo>
                <a:lnTo>
                  <a:pt x="296197" y="915680"/>
                </a:lnTo>
                <a:close/>
                <a:moveTo>
                  <a:pt x="415413" y="915680"/>
                </a:moveTo>
                <a:lnTo>
                  <a:pt x="360106" y="930428"/>
                </a:lnTo>
                <a:lnTo>
                  <a:pt x="389603" y="1069310"/>
                </a:lnTo>
                <a:lnTo>
                  <a:pt x="444910" y="1054561"/>
                </a:lnTo>
                <a:lnTo>
                  <a:pt x="415413" y="915680"/>
                </a:lnTo>
                <a:close/>
                <a:moveTo>
                  <a:pt x="532171" y="915680"/>
                </a:moveTo>
                <a:lnTo>
                  <a:pt x="479323" y="935345"/>
                </a:lnTo>
                <a:lnTo>
                  <a:pt x="518652" y="1069310"/>
                </a:lnTo>
                <a:lnTo>
                  <a:pt x="571500" y="1049645"/>
                </a:lnTo>
                <a:lnTo>
                  <a:pt x="532171" y="915680"/>
                </a:lnTo>
                <a:close/>
                <a:moveTo>
                  <a:pt x="651388" y="915680"/>
                </a:moveTo>
                <a:lnTo>
                  <a:pt x="599769" y="940261"/>
                </a:lnTo>
                <a:lnTo>
                  <a:pt x="648930" y="1069310"/>
                </a:lnTo>
                <a:lnTo>
                  <a:pt x="699320" y="1044729"/>
                </a:lnTo>
                <a:lnTo>
                  <a:pt x="651388" y="915680"/>
                </a:lnTo>
                <a:close/>
                <a:moveTo>
                  <a:pt x="768145" y="915680"/>
                </a:moveTo>
                <a:lnTo>
                  <a:pt x="720214" y="945177"/>
                </a:lnTo>
                <a:lnTo>
                  <a:pt x="777978" y="1068080"/>
                </a:lnTo>
                <a:lnTo>
                  <a:pt x="827139" y="1038583"/>
                </a:lnTo>
                <a:lnTo>
                  <a:pt x="768145" y="915680"/>
                </a:lnTo>
                <a:close/>
                <a:moveTo>
                  <a:pt x="887362" y="915680"/>
                </a:moveTo>
                <a:lnTo>
                  <a:pt x="840659" y="950093"/>
                </a:lnTo>
                <a:lnTo>
                  <a:pt x="908255" y="1069310"/>
                </a:lnTo>
                <a:lnTo>
                  <a:pt x="954959" y="1034897"/>
                </a:lnTo>
                <a:lnTo>
                  <a:pt x="887362" y="915680"/>
                </a:lnTo>
                <a:close/>
                <a:moveTo>
                  <a:pt x="1005350" y="915680"/>
                </a:moveTo>
                <a:lnTo>
                  <a:pt x="959875" y="955009"/>
                </a:lnTo>
                <a:lnTo>
                  <a:pt x="1037304" y="1068080"/>
                </a:lnTo>
                <a:lnTo>
                  <a:pt x="1082778" y="1028751"/>
                </a:lnTo>
                <a:lnTo>
                  <a:pt x="1005350" y="915680"/>
                </a:lnTo>
                <a:close/>
                <a:moveTo>
                  <a:pt x="1241324" y="915680"/>
                </a:moveTo>
                <a:lnTo>
                  <a:pt x="1200765" y="964841"/>
                </a:lnTo>
                <a:lnTo>
                  <a:pt x="1297860" y="1069310"/>
                </a:lnTo>
                <a:lnTo>
                  <a:pt x="1338417" y="1020149"/>
                </a:lnTo>
                <a:lnTo>
                  <a:pt x="1241324" y="915680"/>
                </a:lnTo>
                <a:close/>
                <a:moveTo>
                  <a:pt x="1477299" y="915680"/>
                </a:moveTo>
                <a:lnTo>
                  <a:pt x="1440428" y="974674"/>
                </a:lnTo>
                <a:lnTo>
                  <a:pt x="1557185" y="1068080"/>
                </a:lnTo>
                <a:lnTo>
                  <a:pt x="1594056" y="1009087"/>
                </a:lnTo>
                <a:lnTo>
                  <a:pt x="1477299" y="915680"/>
                </a:lnTo>
                <a:close/>
                <a:moveTo>
                  <a:pt x="1359311" y="916910"/>
                </a:moveTo>
                <a:lnTo>
                  <a:pt x="1319982" y="970987"/>
                </a:lnTo>
                <a:lnTo>
                  <a:pt x="1426908" y="1069310"/>
                </a:lnTo>
                <a:lnTo>
                  <a:pt x="1466237" y="1015232"/>
                </a:lnTo>
                <a:lnTo>
                  <a:pt x="1359311" y="916910"/>
                </a:lnTo>
                <a:close/>
                <a:moveTo>
                  <a:pt x="1123337" y="916910"/>
                </a:moveTo>
                <a:lnTo>
                  <a:pt x="1080320" y="961155"/>
                </a:lnTo>
                <a:lnTo>
                  <a:pt x="1167582" y="1069310"/>
                </a:lnTo>
                <a:lnTo>
                  <a:pt x="1210598" y="1025065"/>
                </a:lnTo>
                <a:lnTo>
                  <a:pt x="1123337" y="916910"/>
                </a:lnTo>
                <a:close/>
                <a:moveTo>
                  <a:pt x="179439" y="1109867"/>
                </a:moveTo>
                <a:lnTo>
                  <a:pt x="120445" y="1114783"/>
                </a:lnTo>
                <a:lnTo>
                  <a:pt x="129048" y="1263497"/>
                </a:lnTo>
                <a:lnTo>
                  <a:pt x="189271" y="1258581"/>
                </a:lnTo>
                <a:lnTo>
                  <a:pt x="179439" y="1109867"/>
                </a:lnTo>
                <a:close/>
                <a:moveTo>
                  <a:pt x="296197" y="1109867"/>
                </a:moveTo>
                <a:lnTo>
                  <a:pt x="239661" y="1119700"/>
                </a:lnTo>
                <a:lnTo>
                  <a:pt x="259326" y="1263497"/>
                </a:lnTo>
                <a:lnTo>
                  <a:pt x="315861" y="1253665"/>
                </a:lnTo>
                <a:lnTo>
                  <a:pt x="296197" y="1109867"/>
                </a:lnTo>
                <a:close/>
                <a:moveTo>
                  <a:pt x="415413" y="1109867"/>
                </a:moveTo>
                <a:lnTo>
                  <a:pt x="360106" y="1124616"/>
                </a:lnTo>
                <a:lnTo>
                  <a:pt x="389603" y="1263497"/>
                </a:lnTo>
                <a:lnTo>
                  <a:pt x="444910" y="1248749"/>
                </a:lnTo>
                <a:lnTo>
                  <a:pt x="415413" y="1109867"/>
                </a:lnTo>
                <a:close/>
                <a:moveTo>
                  <a:pt x="532171" y="1109867"/>
                </a:moveTo>
                <a:lnTo>
                  <a:pt x="479323" y="1129532"/>
                </a:lnTo>
                <a:lnTo>
                  <a:pt x="518652" y="1263497"/>
                </a:lnTo>
                <a:lnTo>
                  <a:pt x="571500" y="1243833"/>
                </a:lnTo>
                <a:lnTo>
                  <a:pt x="532171" y="1109867"/>
                </a:lnTo>
                <a:close/>
                <a:moveTo>
                  <a:pt x="651388" y="1109867"/>
                </a:moveTo>
                <a:lnTo>
                  <a:pt x="599769" y="1135678"/>
                </a:lnTo>
                <a:lnTo>
                  <a:pt x="648930" y="1264726"/>
                </a:lnTo>
                <a:lnTo>
                  <a:pt x="699320" y="1238917"/>
                </a:lnTo>
                <a:lnTo>
                  <a:pt x="651388" y="1109867"/>
                </a:lnTo>
                <a:close/>
                <a:moveTo>
                  <a:pt x="768145" y="1109867"/>
                </a:moveTo>
                <a:lnTo>
                  <a:pt x="720214" y="1138136"/>
                </a:lnTo>
                <a:lnTo>
                  <a:pt x="777978" y="1262268"/>
                </a:lnTo>
                <a:lnTo>
                  <a:pt x="827139" y="1232771"/>
                </a:lnTo>
                <a:lnTo>
                  <a:pt x="768145" y="1109867"/>
                </a:lnTo>
                <a:close/>
                <a:moveTo>
                  <a:pt x="887362" y="1109867"/>
                </a:moveTo>
                <a:lnTo>
                  <a:pt x="840659" y="1144280"/>
                </a:lnTo>
                <a:lnTo>
                  <a:pt x="908255" y="1263497"/>
                </a:lnTo>
                <a:lnTo>
                  <a:pt x="954959" y="1229084"/>
                </a:lnTo>
                <a:lnTo>
                  <a:pt x="887362" y="1109867"/>
                </a:lnTo>
                <a:close/>
                <a:moveTo>
                  <a:pt x="1005350" y="1109867"/>
                </a:moveTo>
                <a:lnTo>
                  <a:pt x="959875" y="1150426"/>
                </a:lnTo>
                <a:lnTo>
                  <a:pt x="1037304" y="1263497"/>
                </a:lnTo>
                <a:lnTo>
                  <a:pt x="1082778" y="1224168"/>
                </a:lnTo>
                <a:lnTo>
                  <a:pt x="1005350" y="1109867"/>
                </a:lnTo>
                <a:close/>
                <a:moveTo>
                  <a:pt x="1123337" y="1109867"/>
                </a:moveTo>
                <a:lnTo>
                  <a:pt x="1080320" y="1154113"/>
                </a:lnTo>
                <a:lnTo>
                  <a:pt x="1167582" y="1263497"/>
                </a:lnTo>
                <a:lnTo>
                  <a:pt x="1210598" y="1219252"/>
                </a:lnTo>
                <a:lnTo>
                  <a:pt x="1123337" y="1109867"/>
                </a:lnTo>
                <a:close/>
                <a:moveTo>
                  <a:pt x="1241324" y="1109867"/>
                </a:moveTo>
                <a:lnTo>
                  <a:pt x="1199537" y="1160258"/>
                </a:lnTo>
                <a:lnTo>
                  <a:pt x="1297860" y="1263497"/>
                </a:lnTo>
                <a:lnTo>
                  <a:pt x="1338417" y="1214336"/>
                </a:lnTo>
                <a:lnTo>
                  <a:pt x="1241324" y="1109867"/>
                </a:lnTo>
                <a:close/>
                <a:moveTo>
                  <a:pt x="1359311" y="1111097"/>
                </a:moveTo>
                <a:lnTo>
                  <a:pt x="1319982" y="1165175"/>
                </a:lnTo>
                <a:lnTo>
                  <a:pt x="1426908" y="1263497"/>
                </a:lnTo>
                <a:lnTo>
                  <a:pt x="1466237" y="1209420"/>
                </a:lnTo>
                <a:lnTo>
                  <a:pt x="1359311" y="1111097"/>
                </a:lnTo>
                <a:close/>
                <a:moveTo>
                  <a:pt x="1476069" y="1111097"/>
                </a:moveTo>
                <a:lnTo>
                  <a:pt x="1439198" y="1170091"/>
                </a:lnTo>
                <a:lnTo>
                  <a:pt x="1555957" y="1263497"/>
                </a:lnTo>
                <a:lnTo>
                  <a:pt x="1592828" y="1204504"/>
                </a:lnTo>
                <a:lnTo>
                  <a:pt x="1476069" y="1111097"/>
                </a:lnTo>
                <a:close/>
                <a:moveTo>
                  <a:pt x="769375" y="1296680"/>
                </a:moveTo>
                <a:lnTo>
                  <a:pt x="720214" y="1327407"/>
                </a:lnTo>
                <a:lnTo>
                  <a:pt x="777978" y="1450310"/>
                </a:lnTo>
                <a:lnTo>
                  <a:pt x="827139" y="1420814"/>
                </a:lnTo>
                <a:lnTo>
                  <a:pt x="769375" y="1296680"/>
                </a:lnTo>
                <a:close/>
                <a:moveTo>
                  <a:pt x="1123337" y="1296680"/>
                </a:moveTo>
                <a:lnTo>
                  <a:pt x="1080320" y="1342155"/>
                </a:lnTo>
                <a:lnTo>
                  <a:pt x="1167582" y="1450310"/>
                </a:lnTo>
                <a:lnTo>
                  <a:pt x="1210598" y="1406065"/>
                </a:lnTo>
                <a:lnTo>
                  <a:pt x="1123337" y="1296680"/>
                </a:lnTo>
                <a:close/>
                <a:moveTo>
                  <a:pt x="1359311" y="1297910"/>
                </a:moveTo>
                <a:lnTo>
                  <a:pt x="1319982" y="1351988"/>
                </a:lnTo>
                <a:lnTo>
                  <a:pt x="1426908" y="1450310"/>
                </a:lnTo>
                <a:lnTo>
                  <a:pt x="1466237" y="1396233"/>
                </a:lnTo>
                <a:lnTo>
                  <a:pt x="1359311" y="1297910"/>
                </a:lnTo>
                <a:close/>
                <a:moveTo>
                  <a:pt x="1242552" y="1299139"/>
                </a:moveTo>
                <a:lnTo>
                  <a:pt x="1200765" y="1348300"/>
                </a:lnTo>
                <a:lnTo>
                  <a:pt x="1297860" y="1451539"/>
                </a:lnTo>
                <a:lnTo>
                  <a:pt x="1338417" y="1402377"/>
                </a:lnTo>
                <a:lnTo>
                  <a:pt x="1242552" y="1299139"/>
                </a:lnTo>
                <a:close/>
                <a:moveTo>
                  <a:pt x="1005350" y="1297910"/>
                </a:moveTo>
                <a:lnTo>
                  <a:pt x="959875" y="1338468"/>
                </a:lnTo>
                <a:lnTo>
                  <a:pt x="1037304" y="1451539"/>
                </a:lnTo>
                <a:lnTo>
                  <a:pt x="1082778" y="1412210"/>
                </a:lnTo>
                <a:lnTo>
                  <a:pt x="1005350" y="1297910"/>
                </a:lnTo>
                <a:close/>
                <a:moveTo>
                  <a:pt x="887362" y="1299139"/>
                </a:moveTo>
                <a:lnTo>
                  <a:pt x="840659" y="1333551"/>
                </a:lnTo>
                <a:lnTo>
                  <a:pt x="908255" y="1451539"/>
                </a:lnTo>
                <a:lnTo>
                  <a:pt x="954959" y="1418355"/>
                </a:lnTo>
                <a:lnTo>
                  <a:pt x="887362" y="1299139"/>
                </a:lnTo>
                <a:close/>
                <a:moveTo>
                  <a:pt x="178209" y="1297910"/>
                </a:moveTo>
                <a:lnTo>
                  <a:pt x="119216" y="1302826"/>
                </a:lnTo>
                <a:lnTo>
                  <a:pt x="129048" y="1451539"/>
                </a:lnTo>
                <a:lnTo>
                  <a:pt x="188042" y="1446623"/>
                </a:lnTo>
                <a:lnTo>
                  <a:pt x="178209" y="1297910"/>
                </a:lnTo>
                <a:close/>
                <a:moveTo>
                  <a:pt x="296197" y="1297910"/>
                </a:moveTo>
                <a:lnTo>
                  <a:pt x="239661" y="1307742"/>
                </a:lnTo>
                <a:lnTo>
                  <a:pt x="259326" y="1451539"/>
                </a:lnTo>
                <a:lnTo>
                  <a:pt x="315861" y="1441706"/>
                </a:lnTo>
                <a:lnTo>
                  <a:pt x="296197" y="1297910"/>
                </a:lnTo>
                <a:close/>
                <a:moveTo>
                  <a:pt x="415413" y="1297910"/>
                </a:moveTo>
                <a:lnTo>
                  <a:pt x="360106" y="1312659"/>
                </a:lnTo>
                <a:lnTo>
                  <a:pt x="389603" y="1451539"/>
                </a:lnTo>
                <a:lnTo>
                  <a:pt x="444910" y="1436790"/>
                </a:lnTo>
                <a:lnTo>
                  <a:pt x="415413" y="1297910"/>
                </a:lnTo>
                <a:close/>
                <a:moveTo>
                  <a:pt x="532171" y="1297910"/>
                </a:moveTo>
                <a:lnTo>
                  <a:pt x="479323" y="1317575"/>
                </a:lnTo>
                <a:lnTo>
                  <a:pt x="518652" y="1451539"/>
                </a:lnTo>
                <a:lnTo>
                  <a:pt x="571500" y="1431874"/>
                </a:lnTo>
                <a:lnTo>
                  <a:pt x="532171" y="1297910"/>
                </a:lnTo>
                <a:close/>
                <a:moveTo>
                  <a:pt x="651388" y="1297910"/>
                </a:moveTo>
                <a:lnTo>
                  <a:pt x="599769" y="1322491"/>
                </a:lnTo>
                <a:lnTo>
                  <a:pt x="648930" y="1451539"/>
                </a:lnTo>
                <a:lnTo>
                  <a:pt x="699320" y="1426958"/>
                </a:lnTo>
                <a:lnTo>
                  <a:pt x="651388" y="1297910"/>
                </a:lnTo>
                <a:close/>
                <a:moveTo>
                  <a:pt x="178209" y="1488410"/>
                </a:moveTo>
                <a:lnTo>
                  <a:pt x="119216" y="1493326"/>
                </a:lnTo>
                <a:lnTo>
                  <a:pt x="129048" y="1642040"/>
                </a:lnTo>
                <a:lnTo>
                  <a:pt x="188042" y="1637123"/>
                </a:lnTo>
                <a:lnTo>
                  <a:pt x="178209" y="1488410"/>
                </a:lnTo>
                <a:close/>
                <a:moveTo>
                  <a:pt x="651388" y="1488410"/>
                </a:moveTo>
                <a:lnTo>
                  <a:pt x="599769" y="1512990"/>
                </a:lnTo>
                <a:lnTo>
                  <a:pt x="648930" y="1642040"/>
                </a:lnTo>
                <a:lnTo>
                  <a:pt x="699320" y="1617459"/>
                </a:lnTo>
                <a:lnTo>
                  <a:pt x="651388" y="1488410"/>
                </a:lnTo>
                <a:close/>
                <a:moveTo>
                  <a:pt x="887362" y="1488410"/>
                </a:moveTo>
                <a:lnTo>
                  <a:pt x="840659" y="1522823"/>
                </a:lnTo>
                <a:lnTo>
                  <a:pt x="908255" y="1642040"/>
                </a:lnTo>
                <a:lnTo>
                  <a:pt x="954959" y="1607627"/>
                </a:lnTo>
                <a:lnTo>
                  <a:pt x="887362" y="1488410"/>
                </a:lnTo>
                <a:close/>
                <a:moveTo>
                  <a:pt x="1242552" y="1488410"/>
                </a:moveTo>
                <a:lnTo>
                  <a:pt x="1200765" y="1537571"/>
                </a:lnTo>
                <a:lnTo>
                  <a:pt x="1297860" y="1642040"/>
                </a:lnTo>
                <a:lnTo>
                  <a:pt x="1338417" y="1592878"/>
                </a:lnTo>
                <a:lnTo>
                  <a:pt x="1242552" y="1488410"/>
                </a:lnTo>
                <a:close/>
                <a:moveTo>
                  <a:pt x="1359311" y="1488410"/>
                </a:moveTo>
                <a:lnTo>
                  <a:pt x="1319982" y="1543717"/>
                </a:lnTo>
                <a:lnTo>
                  <a:pt x="1426908" y="1640810"/>
                </a:lnTo>
                <a:lnTo>
                  <a:pt x="1466237" y="1586732"/>
                </a:lnTo>
                <a:lnTo>
                  <a:pt x="1359311" y="1488410"/>
                </a:lnTo>
                <a:close/>
                <a:moveTo>
                  <a:pt x="1005350" y="1489639"/>
                </a:moveTo>
                <a:lnTo>
                  <a:pt x="959875" y="1528968"/>
                </a:lnTo>
                <a:lnTo>
                  <a:pt x="1037304" y="1642040"/>
                </a:lnTo>
                <a:lnTo>
                  <a:pt x="1082778" y="1602710"/>
                </a:lnTo>
                <a:lnTo>
                  <a:pt x="1005350" y="1489639"/>
                </a:lnTo>
                <a:close/>
                <a:moveTo>
                  <a:pt x="1123337" y="1489639"/>
                </a:moveTo>
                <a:lnTo>
                  <a:pt x="1080320" y="1533885"/>
                </a:lnTo>
                <a:lnTo>
                  <a:pt x="1167582" y="1642040"/>
                </a:lnTo>
                <a:lnTo>
                  <a:pt x="1210598" y="1597794"/>
                </a:lnTo>
                <a:lnTo>
                  <a:pt x="1123337" y="1489639"/>
                </a:lnTo>
                <a:close/>
                <a:moveTo>
                  <a:pt x="769375" y="1489639"/>
                </a:moveTo>
                <a:lnTo>
                  <a:pt x="720214" y="1519136"/>
                </a:lnTo>
                <a:lnTo>
                  <a:pt x="777978" y="1643268"/>
                </a:lnTo>
                <a:lnTo>
                  <a:pt x="827139" y="1613771"/>
                </a:lnTo>
                <a:lnTo>
                  <a:pt x="769375" y="1489639"/>
                </a:lnTo>
                <a:close/>
                <a:moveTo>
                  <a:pt x="296197" y="1489639"/>
                </a:moveTo>
                <a:lnTo>
                  <a:pt x="239661" y="1499472"/>
                </a:lnTo>
                <a:lnTo>
                  <a:pt x="259326" y="1643268"/>
                </a:lnTo>
                <a:lnTo>
                  <a:pt x="315861" y="1633436"/>
                </a:lnTo>
                <a:lnTo>
                  <a:pt x="296197" y="1489639"/>
                </a:lnTo>
                <a:close/>
                <a:moveTo>
                  <a:pt x="415413" y="1489639"/>
                </a:moveTo>
                <a:lnTo>
                  <a:pt x="360106" y="1504388"/>
                </a:lnTo>
                <a:lnTo>
                  <a:pt x="389603" y="1642040"/>
                </a:lnTo>
                <a:lnTo>
                  <a:pt x="444910" y="1628520"/>
                </a:lnTo>
                <a:lnTo>
                  <a:pt x="415413" y="1489639"/>
                </a:lnTo>
                <a:close/>
                <a:moveTo>
                  <a:pt x="532171" y="1489639"/>
                </a:moveTo>
                <a:lnTo>
                  <a:pt x="479323" y="1509304"/>
                </a:lnTo>
                <a:lnTo>
                  <a:pt x="518652" y="1642040"/>
                </a:lnTo>
                <a:lnTo>
                  <a:pt x="571500" y="1623603"/>
                </a:lnTo>
                <a:lnTo>
                  <a:pt x="532171" y="1489639"/>
                </a:lnTo>
                <a:close/>
                <a:moveTo>
                  <a:pt x="178209" y="1681369"/>
                </a:moveTo>
                <a:lnTo>
                  <a:pt x="119216" y="1686285"/>
                </a:lnTo>
                <a:lnTo>
                  <a:pt x="129048" y="1834997"/>
                </a:lnTo>
                <a:lnTo>
                  <a:pt x="188042" y="1830081"/>
                </a:lnTo>
                <a:lnTo>
                  <a:pt x="178209" y="1681369"/>
                </a:lnTo>
                <a:close/>
                <a:moveTo>
                  <a:pt x="296197" y="1681369"/>
                </a:moveTo>
                <a:lnTo>
                  <a:pt x="239661" y="1691201"/>
                </a:lnTo>
                <a:lnTo>
                  <a:pt x="259326" y="1834997"/>
                </a:lnTo>
                <a:lnTo>
                  <a:pt x="315861" y="1825165"/>
                </a:lnTo>
                <a:lnTo>
                  <a:pt x="296197" y="1681369"/>
                </a:lnTo>
                <a:close/>
                <a:moveTo>
                  <a:pt x="415413" y="1681369"/>
                </a:moveTo>
                <a:lnTo>
                  <a:pt x="360106" y="1696117"/>
                </a:lnTo>
                <a:lnTo>
                  <a:pt x="389603" y="1834997"/>
                </a:lnTo>
                <a:lnTo>
                  <a:pt x="444910" y="1820249"/>
                </a:lnTo>
                <a:lnTo>
                  <a:pt x="415413" y="1681369"/>
                </a:lnTo>
                <a:close/>
                <a:moveTo>
                  <a:pt x="532171" y="1681369"/>
                </a:moveTo>
                <a:lnTo>
                  <a:pt x="479323" y="1701033"/>
                </a:lnTo>
                <a:lnTo>
                  <a:pt x="518652" y="1834997"/>
                </a:lnTo>
                <a:lnTo>
                  <a:pt x="571500" y="1815333"/>
                </a:lnTo>
                <a:lnTo>
                  <a:pt x="532171" y="1681369"/>
                </a:lnTo>
                <a:close/>
                <a:moveTo>
                  <a:pt x="651388" y="1681369"/>
                </a:moveTo>
                <a:lnTo>
                  <a:pt x="599769" y="1705949"/>
                </a:lnTo>
                <a:lnTo>
                  <a:pt x="648930" y="1834997"/>
                </a:lnTo>
                <a:lnTo>
                  <a:pt x="699320" y="1809188"/>
                </a:lnTo>
                <a:lnTo>
                  <a:pt x="651388" y="1681369"/>
                </a:lnTo>
                <a:close/>
                <a:moveTo>
                  <a:pt x="769375" y="1681369"/>
                </a:moveTo>
                <a:lnTo>
                  <a:pt x="720214" y="1709636"/>
                </a:lnTo>
                <a:lnTo>
                  <a:pt x="777978" y="1833769"/>
                </a:lnTo>
                <a:lnTo>
                  <a:pt x="827139" y="1804272"/>
                </a:lnTo>
                <a:lnTo>
                  <a:pt x="769375" y="1681369"/>
                </a:lnTo>
                <a:close/>
                <a:moveTo>
                  <a:pt x="887362" y="1681369"/>
                </a:moveTo>
                <a:lnTo>
                  <a:pt x="840659" y="1715782"/>
                </a:lnTo>
                <a:lnTo>
                  <a:pt x="908255" y="1834997"/>
                </a:lnTo>
                <a:lnTo>
                  <a:pt x="954959" y="1800584"/>
                </a:lnTo>
                <a:lnTo>
                  <a:pt x="887362" y="1681369"/>
                </a:lnTo>
                <a:close/>
                <a:moveTo>
                  <a:pt x="1005350" y="1681369"/>
                </a:moveTo>
                <a:lnTo>
                  <a:pt x="959875" y="1720698"/>
                </a:lnTo>
                <a:lnTo>
                  <a:pt x="1037304" y="1833769"/>
                </a:lnTo>
                <a:lnTo>
                  <a:pt x="1082778" y="1794440"/>
                </a:lnTo>
                <a:lnTo>
                  <a:pt x="1005350" y="1681369"/>
                </a:lnTo>
                <a:close/>
                <a:moveTo>
                  <a:pt x="1242552" y="1681369"/>
                </a:moveTo>
                <a:lnTo>
                  <a:pt x="1200765" y="1730530"/>
                </a:lnTo>
                <a:lnTo>
                  <a:pt x="1297860" y="1834997"/>
                </a:lnTo>
                <a:lnTo>
                  <a:pt x="1338417" y="1785836"/>
                </a:lnTo>
                <a:lnTo>
                  <a:pt x="1242552" y="1681369"/>
                </a:lnTo>
                <a:close/>
                <a:moveTo>
                  <a:pt x="1359311" y="1681369"/>
                </a:moveTo>
                <a:lnTo>
                  <a:pt x="1319982" y="1735446"/>
                </a:lnTo>
                <a:lnTo>
                  <a:pt x="1426908" y="1833769"/>
                </a:lnTo>
                <a:lnTo>
                  <a:pt x="1466237" y="1779691"/>
                </a:lnTo>
                <a:lnTo>
                  <a:pt x="1359311" y="1681369"/>
                </a:lnTo>
                <a:close/>
                <a:moveTo>
                  <a:pt x="1476069" y="1682597"/>
                </a:moveTo>
                <a:lnTo>
                  <a:pt x="1439198" y="1741591"/>
                </a:lnTo>
                <a:lnTo>
                  <a:pt x="1555957" y="1834997"/>
                </a:lnTo>
                <a:lnTo>
                  <a:pt x="1592828" y="1776004"/>
                </a:lnTo>
                <a:lnTo>
                  <a:pt x="1476069" y="1682597"/>
                </a:lnTo>
                <a:close/>
                <a:moveTo>
                  <a:pt x="1123337" y="1682597"/>
                </a:moveTo>
                <a:lnTo>
                  <a:pt x="1080320" y="1726842"/>
                </a:lnTo>
                <a:lnTo>
                  <a:pt x="1167582" y="1834997"/>
                </a:lnTo>
                <a:lnTo>
                  <a:pt x="1210598" y="1790752"/>
                </a:lnTo>
                <a:lnTo>
                  <a:pt x="1123337" y="1682597"/>
                </a:lnTo>
                <a:close/>
                <a:moveTo>
                  <a:pt x="178209" y="1873098"/>
                </a:moveTo>
                <a:lnTo>
                  <a:pt x="119216" y="1878014"/>
                </a:lnTo>
                <a:lnTo>
                  <a:pt x="129048" y="2026726"/>
                </a:lnTo>
                <a:lnTo>
                  <a:pt x="188042" y="2021810"/>
                </a:lnTo>
                <a:lnTo>
                  <a:pt x="178209" y="1873098"/>
                </a:lnTo>
                <a:close/>
                <a:moveTo>
                  <a:pt x="415413" y="1873098"/>
                </a:moveTo>
                <a:lnTo>
                  <a:pt x="360106" y="1887846"/>
                </a:lnTo>
                <a:lnTo>
                  <a:pt x="389603" y="2026726"/>
                </a:lnTo>
                <a:lnTo>
                  <a:pt x="444910" y="2011978"/>
                </a:lnTo>
                <a:lnTo>
                  <a:pt x="415413" y="1873098"/>
                </a:lnTo>
                <a:close/>
                <a:moveTo>
                  <a:pt x="651388" y="1873098"/>
                </a:moveTo>
                <a:lnTo>
                  <a:pt x="599769" y="1897679"/>
                </a:lnTo>
                <a:lnTo>
                  <a:pt x="648930" y="2026726"/>
                </a:lnTo>
                <a:lnTo>
                  <a:pt x="699320" y="2002146"/>
                </a:lnTo>
                <a:lnTo>
                  <a:pt x="651388" y="1873098"/>
                </a:lnTo>
                <a:close/>
                <a:moveTo>
                  <a:pt x="1359311" y="1873098"/>
                </a:moveTo>
                <a:lnTo>
                  <a:pt x="1319982" y="1928404"/>
                </a:lnTo>
                <a:lnTo>
                  <a:pt x="1426908" y="2026726"/>
                </a:lnTo>
                <a:lnTo>
                  <a:pt x="1466237" y="1972649"/>
                </a:lnTo>
                <a:lnTo>
                  <a:pt x="1359311" y="1873098"/>
                </a:lnTo>
                <a:close/>
                <a:moveTo>
                  <a:pt x="1476069" y="1874326"/>
                </a:moveTo>
                <a:lnTo>
                  <a:pt x="1439198" y="1933320"/>
                </a:lnTo>
                <a:lnTo>
                  <a:pt x="1555957" y="2026726"/>
                </a:lnTo>
                <a:lnTo>
                  <a:pt x="1592828" y="1967733"/>
                </a:lnTo>
                <a:lnTo>
                  <a:pt x="1476069" y="1874326"/>
                </a:lnTo>
                <a:close/>
                <a:moveTo>
                  <a:pt x="769375" y="1874326"/>
                </a:moveTo>
                <a:lnTo>
                  <a:pt x="720214" y="1903823"/>
                </a:lnTo>
                <a:lnTo>
                  <a:pt x="777978" y="2027956"/>
                </a:lnTo>
                <a:lnTo>
                  <a:pt x="827139" y="1998459"/>
                </a:lnTo>
                <a:lnTo>
                  <a:pt x="769375" y="1874326"/>
                </a:lnTo>
                <a:close/>
                <a:moveTo>
                  <a:pt x="887362" y="1874326"/>
                </a:moveTo>
                <a:lnTo>
                  <a:pt x="840659" y="1908739"/>
                </a:lnTo>
                <a:lnTo>
                  <a:pt x="908255" y="2026726"/>
                </a:lnTo>
                <a:lnTo>
                  <a:pt x="954959" y="1993543"/>
                </a:lnTo>
                <a:lnTo>
                  <a:pt x="887362" y="1874326"/>
                </a:lnTo>
                <a:close/>
                <a:moveTo>
                  <a:pt x="1005350" y="1874326"/>
                </a:moveTo>
                <a:lnTo>
                  <a:pt x="959875" y="1913655"/>
                </a:lnTo>
                <a:lnTo>
                  <a:pt x="1037304" y="2026726"/>
                </a:lnTo>
                <a:lnTo>
                  <a:pt x="1082778" y="1987397"/>
                </a:lnTo>
                <a:lnTo>
                  <a:pt x="1005350" y="1874326"/>
                </a:lnTo>
                <a:close/>
                <a:moveTo>
                  <a:pt x="1123337" y="1874326"/>
                </a:moveTo>
                <a:lnTo>
                  <a:pt x="1080320" y="1918571"/>
                </a:lnTo>
                <a:lnTo>
                  <a:pt x="1167582" y="2026726"/>
                </a:lnTo>
                <a:lnTo>
                  <a:pt x="1210598" y="1982481"/>
                </a:lnTo>
                <a:lnTo>
                  <a:pt x="1123337" y="1874326"/>
                </a:lnTo>
                <a:close/>
                <a:moveTo>
                  <a:pt x="1242552" y="1874326"/>
                </a:moveTo>
                <a:lnTo>
                  <a:pt x="1200765" y="1923488"/>
                </a:lnTo>
                <a:lnTo>
                  <a:pt x="1297860" y="2026726"/>
                </a:lnTo>
                <a:lnTo>
                  <a:pt x="1338417" y="1977565"/>
                </a:lnTo>
                <a:lnTo>
                  <a:pt x="1242552" y="1874326"/>
                </a:lnTo>
                <a:close/>
                <a:moveTo>
                  <a:pt x="532171" y="1874326"/>
                </a:moveTo>
                <a:lnTo>
                  <a:pt x="479323" y="1893991"/>
                </a:lnTo>
                <a:lnTo>
                  <a:pt x="518652" y="2026726"/>
                </a:lnTo>
                <a:lnTo>
                  <a:pt x="571500" y="2008292"/>
                </a:lnTo>
                <a:lnTo>
                  <a:pt x="532171" y="1874326"/>
                </a:lnTo>
                <a:close/>
                <a:moveTo>
                  <a:pt x="296197" y="1874326"/>
                </a:moveTo>
                <a:lnTo>
                  <a:pt x="239661" y="1884159"/>
                </a:lnTo>
                <a:lnTo>
                  <a:pt x="259326" y="2027956"/>
                </a:lnTo>
                <a:lnTo>
                  <a:pt x="315861" y="2018124"/>
                </a:lnTo>
                <a:lnTo>
                  <a:pt x="296197" y="1874326"/>
                </a:lnTo>
                <a:close/>
                <a:moveTo>
                  <a:pt x="1242552" y="2062369"/>
                </a:moveTo>
                <a:lnTo>
                  <a:pt x="1200765" y="2112759"/>
                </a:lnTo>
                <a:lnTo>
                  <a:pt x="1297860" y="2217227"/>
                </a:lnTo>
                <a:lnTo>
                  <a:pt x="1338417" y="2168066"/>
                </a:lnTo>
                <a:lnTo>
                  <a:pt x="1242552" y="2062369"/>
                </a:lnTo>
                <a:close/>
                <a:moveTo>
                  <a:pt x="1476069" y="2063597"/>
                </a:moveTo>
                <a:lnTo>
                  <a:pt x="1439198" y="2122591"/>
                </a:lnTo>
                <a:lnTo>
                  <a:pt x="1555957" y="2217227"/>
                </a:lnTo>
                <a:lnTo>
                  <a:pt x="1592828" y="2158234"/>
                </a:lnTo>
                <a:lnTo>
                  <a:pt x="1476069" y="2063597"/>
                </a:lnTo>
                <a:close/>
                <a:moveTo>
                  <a:pt x="1359311" y="2064827"/>
                </a:moveTo>
                <a:lnTo>
                  <a:pt x="1319982" y="2118905"/>
                </a:lnTo>
                <a:lnTo>
                  <a:pt x="1426908" y="2217227"/>
                </a:lnTo>
                <a:lnTo>
                  <a:pt x="1466237" y="2163150"/>
                </a:lnTo>
                <a:lnTo>
                  <a:pt x="1359311" y="2064827"/>
                </a:lnTo>
                <a:close/>
                <a:moveTo>
                  <a:pt x="178209" y="2063597"/>
                </a:moveTo>
                <a:lnTo>
                  <a:pt x="119216" y="2068514"/>
                </a:lnTo>
                <a:lnTo>
                  <a:pt x="129048" y="2217227"/>
                </a:lnTo>
                <a:lnTo>
                  <a:pt x="188042" y="2212311"/>
                </a:lnTo>
                <a:lnTo>
                  <a:pt x="178209" y="2063597"/>
                </a:lnTo>
                <a:close/>
                <a:moveTo>
                  <a:pt x="296197" y="2063597"/>
                </a:moveTo>
                <a:lnTo>
                  <a:pt x="239661" y="2073430"/>
                </a:lnTo>
                <a:lnTo>
                  <a:pt x="259326" y="2217227"/>
                </a:lnTo>
                <a:lnTo>
                  <a:pt x="315861" y="2207395"/>
                </a:lnTo>
                <a:lnTo>
                  <a:pt x="296197" y="2063597"/>
                </a:lnTo>
                <a:close/>
                <a:moveTo>
                  <a:pt x="532171" y="2063597"/>
                </a:moveTo>
                <a:lnTo>
                  <a:pt x="479323" y="2084492"/>
                </a:lnTo>
                <a:lnTo>
                  <a:pt x="518652" y="2217227"/>
                </a:lnTo>
                <a:lnTo>
                  <a:pt x="571500" y="2197563"/>
                </a:lnTo>
                <a:lnTo>
                  <a:pt x="532171" y="2063597"/>
                </a:lnTo>
                <a:close/>
                <a:moveTo>
                  <a:pt x="651388" y="2063597"/>
                </a:moveTo>
                <a:lnTo>
                  <a:pt x="599769" y="2089408"/>
                </a:lnTo>
                <a:lnTo>
                  <a:pt x="648930" y="2217227"/>
                </a:lnTo>
                <a:lnTo>
                  <a:pt x="699320" y="2192647"/>
                </a:lnTo>
                <a:lnTo>
                  <a:pt x="651388" y="2063597"/>
                </a:lnTo>
                <a:close/>
                <a:moveTo>
                  <a:pt x="769375" y="2063597"/>
                </a:moveTo>
                <a:lnTo>
                  <a:pt x="720214" y="2094324"/>
                </a:lnTo>
                <a:lnTo>
                  <a:pt x="777978" y="2217227"/>
                </a:lnTo>
                <a:lnTo>
                  <a:pt x="827139" y="2187731"/>
                </a:lnTo>
                <a:lnTo>
                  <a:pt x="769375" y="2063597"/>
                </a:lnTo>
                <a:close/>
                <a:moveTo>
                  <a:pt x="887362" y="2063597"/>
                </a:moveTo>
                <a:lnTo>
                  <a:pt x="840659" y="2098010"/>
                </a:lnTo>
                <a:lnTo>
                  <a:pt x="908255" y="2217227"/>
                </a:lnTo>
                <a:lnTo>
                  <a:pt x="954959" y="2182814"/>
                </a:lnTo>
                <a:lnTo>
                  <a:pt x="887362" y="2063597"/>
                </a:lnTo>
                <a:close/>
                <a:moveTo>
                  <a:pt x="1005350" y="2063597"/>
                </a:moveTo>
                <a:lnTo>
                  <a:pt x="959875" y="2101698"/>
                </a:lnTo>
                <a:lnTo>
                  <a:pt x="1037304" y="2215998"/>
                </a:lnTo>
                <a:lnTo>
                  <a:pt x="1082778" y="2176669"/>
                </a:lnTo>
                <a:lnTo>
                  <a:pt x="1005350" y="2063597"/>
                </a:lnTo>
                <a:close/>
                <a:moveTo>
                  <a:pt x="1123337" y="2063597"/>
                </a:moveTo>
                <a:lnTo>
                  <a:pt x="1080320" y="2109072"/>
                </a:lnTo>
                <a:lnTo>
                  <a:pt x="1167582" y="2217227"/>
                </a:lnTo>
                <a:lnTo>
                  <a:pt x="1210598" y="2172982"/>
                </a:lnTo>
                <a:lnTo>
                  <a:pt x="1123337" y="2063597"/>
                </a:lnTo>
                <a:close/>
                <a:moveTo>
                  <a:pt x="415413" y="2064827"/>
                </a:moveTo>
                <a:lnTo>
                  <a:pt x="360106" y="2079576"/>
                </a:lnTo>
                <a:lnTo>
                  <a:pt x="389603" y="2217227"/>
                </a:lnTo>
                <a:lnTo>
                  <a:pt x="444910" y="2203707"/>
                </a:lnTo>
                <a:lnTo>
                  <a:pt x="415413" y="2064827"/>
                </a:lnTo>
                <a:close/>
                <a:moveTo>
                  <a:pt x="178209" y="2252869"/>
                </a:moveTo>
                <a:lnTo>
                  <a:pt x="119216" y="2257785"/>
                </a:lnTo>
                <a:lnTo>
                  <a:pt x="129048" y="2406498"/>
                </a:lnTo>
                <a:lnTo>
                  <a:pt x="188042" y="2400353"/>
                </a:lnTo>
                <a:lnTo>
                  <a:pt x="178209" y="2252869"/>
                </a:lnTo>
                <a:close/>
                <a:moveTo>
                  <a:pt x="415413" y="2252869"/>
                </a:moveTo>
                <a:lnTo>
                  <a:pt x="360106" y="2267617"/>
                </a:lnTo>
                <a:lnTo>
                  <a:pt x="389603" y="2406498"/>
                </a:lnTo>
                <a:lnTo>
                  <a:pt x="444910" y="2390520"/>
                </a:lnTo>
                <a:lnTo>
                  <a:pt x="415413" y="2252869"/>
                </a:lnTo>
                <a:close/>
                <a:moveTo>
                  <a:pt x="887362" y="2252869"/>
                </a:moveTo>
                <a:lnTo>
                  <a:pt x="840659" y="2287282"/>
                </a:lnTo>
                <a:lnTo>
                  <a:pt x="908255" y="2406498"/>
                </a:lnTo>
                <a:lnTo>
                  <a:pt x="954959" y="2370856"/>
                </a:lnTo>
                <a:lnTo>
                  <a:pt x="887362" y="2252869"/>
                </a:lnTo>
                <a:close/>
                <a:moveTo>
                  <a:pt x="1240094" y="2252869"/>
                </a:moveTo>
                <a:lnTo>
                  <a:pt x="1199537" y="2302030"/>
                </a:lnTo>
                <a:lnTo>
                  <a:pt x="1296630" y="2406498"/>
                </a:lnTo>
                <a:lnTo>
                  <a:pt x="1338417" y="2357337"/>
                </a:lnTo>
                <a:lnTo>
                  <a:pt x="1240094" y="2252869"/>
                </a:lnTo>
                <a:close/>
                <a:moveTo>
                  <a:pt x="1359311" y="2254098"/>
                </a:moveTo>
                <a:lnTo>
                  <a:pt x="1319982" y="2308176"/>
                </a:lnTo>
                <a:lnTo>
                  <a:pt x="1426908" y="2407727"/>
                </a:lnTo>
                <a:lnTo>
                  <a:pt x="1466237" y="2352421"/>
                </a:lnTo>
                <a:lnTo>
                  <a:pt x="1359311" y="2254098"/>
                </a:lnTo>
                <a:close/>
                <a:moveTo>
                  <a:pt x="1005350" y="2254098"/>
                </a:moveTo>
                <a:lnTo>
                  <a:pt x="959875" y="2293427"/>
                </a:lnTo>
                <a:lnTo>
                  <a:pt x="1037304" y="2406498"/>
                </a:lnTo>
                <a:lnTo>
                  <a:pt x="1082778" y="2367169"/>
                </a:lnTo>
                <a:lnTo>
                  <a:pt x="1005350" y="2254098"/>
                </a:lnTo>
                <a:close/>
                <a:moveTo>
                  <a:pt x="1123337" y="2254098"/>
                </a:moveTo>
                <a:lnTo>
                  <a:pt x="1080320" y="2298344"/>
                </a:lnTo>
                <a:lnTo>
                  <a:pt x="1167582" y="2406498"/>
                </a:lnTo>
                <a:lnTo>
                  <a:pt x="1210598" y="2362253"/>
                </a:lnTo>
                <a:lnTo>
                  <a:pt x="1123337" y="2254098"/>
                </a:lnTo>
                <a:close/>
                <a:moveTo>
                  <a:pt x="532171" y="2254098"/>
                </a:moveTo>
                <a:lnTo>
                  <a:pt x="479323" y="2273763"/>
                </a:lnTo>
                <a:lnTo>
                  <a:pt x="518652" y="2406498"/>
                </a:lnTo>
                <a:lnTo>
                  <a:pt x="571500" y="2386834"/>
                </a:lnTo>
                <a:lnTo>
                  <a:pt x="532171" y="2254098"/>
                </a:lnTo>
                <a:close/>
                <a:moveTo>
                  <a:pt x="651388" y="2254098"/>
                </a:moveTo>
                <a:lnTo>
                  <a:pt x="599769" y="2277449"/>
                </a:lnTo>
                <a:lnTo>
                  <a:pt x="648930" y="2406498"/>
                </a:lnTo>
                <a:lnTo>
                  <a:pt x="699320" y="2381918"/>
                </a:lnTo>
                <a:lnTo>
                  <a:pt x="651388" y="2254098"/>
                </a:lnTo>
                <a:close/>
                <a:moveTo>
                  <a:pt x="768145" y="2254098"/>
                </a:moveTo>
                <a:lnTo>
                  <a:pt x="720214" y="2282365"/>
                </a:lnTo>
                <a:lnTo>
                  <a:pt x="777978" y="2406498"/>
                </a:lnTo>
                <a:lnTo>
                  <a:pt x="827139" y="2377002"/>
                </a:lnTo>
                <a:lnTo>
                  <a:pt x="768145" y="2254098"/>
                </a:lnTo>
                <a:close/>
                <a:moveTo>
                  <a:pt x="296197" y="2254098"/>
                </a:moveTo>
                <a:lnTo>
                  <a:pt x="239661" y="2262701"/>
                </a:lnTo>
                <a:lnTo>
                  <a:pt x="259326" y="2406498"/>
                </a:lnTo>
                <a:lnTo>
                  <a:pt x="315861" y="2396666"/>
                </a:lnTo>
                <a:lnTo>
                  <a:pt x="296197" y="2254098"/>
                </a:lnTo>
                <a:close/>
                <a:moveTo>
                  <a:pt x="651388" y="2447056"/>
                </a:moveTo>
                <a:lnTo>
                  <a:pt x="599769" y="2471637"/>
                </a:lnTo>
                <a:lnTo>
                  <a:pt x="648930" y="2600686"/>
                </a:lnTo>
                <a:lnTo>
                  <a:pt x="699320" y="2574875"/>
                </a:lnTo>
                <a:lnTo>
                  <a:pt x="651388" y="2447056"/>
                </a:lnTo>
                <a:close/>
                <a:moveTo>
                  <a:pt x="887362" y="2447056"/>
                </a:moveTo>
                <a:lnTo>
                  <a:pt x="840659" y="2481469"/>
                </a:lnTo>
                <a:lnTo>
                  <a:pt x="908255" y="2600686"/>
                </a:lnTo>
                <a:lnTo>
                  <a:pt x="954959" y="2566273"/>
                </a:lnTo>
                <a:lnTo>
                  <a:pt x="887362" y="2447056"/>
                </a:lnTo>
                <a:close/>
                <a:moveTo>
                  <a:pt x="1123337" y="2447056"/>
                </a:moveTo>
                <a:lnTo>
                  <a:pt x="1080320" y="2491301"/>
                </a:lnTo>
                <a:lnTo>
                  <a:pt x="1167582" y="2600686"/>
                </a:lnTo>
                <a:lnTo>
                  <a:pt x="1210598" y="2556441"/>
                </a:lnTo>
                <a:lnTo>
                  <a:pt x="1123337" y="2447056"/>
                </a:lnTo>
                <a:close/>
                <a:moveTo>
                  <a:pt x="1242552" y="2447056"/>
                </a:moveTo>
                <a:lnTo>
                  <a:pt x="1200765" y="2496217"/>
                </a:lnTo>
                <a:lnTo>
                  <a:pt x="1297860" y="2600686"/>
                </a:lnTo>
                <a:lnTo>
                  <a:pt x="1338417" y="2551524"/>
                </a:lnTo>
                <a:lnTo>
                  <a:pt x="1242552" y="2447056"/>
                </a:lnTo>
                <a:close/>
                <a:moveTo>
                  <a:pt x="1359311" y="2448286"/>
                </a:moveTo>
                <a:lnTo>
                  <a:pt x="1319982" y="2502363"/>
                </a:lnTo>
                <a:lnTo>
                  <a:pt x="1426908" y="2600686"/>
                </a:lnTo>
                <a:lnTo>
                  <a:pt x="1466237" y="2546608"/>
                </a:lnTo>
                <a:lnTo>
                  <a:pt x="1359311" y="2448286"/>
                </a:lnTo>
                <a:close/>
                <a:moveTo>
                  <a:pt x="1005350" y="2448286"/>
                </a:moveTo>
                <a:lnTo>
                  <a:pt x="959875" y="2487615"/>
                </a:lnTo>
                <a:lnTo>
                  <a:pt x="1037304" y="2600686"/>
                </a:lnTo>
                <a:lnTo>
                  <a:pt x="1082778" y="2561357"/>
                </a:lnTo>
                <a:lnTo>
                  <a:pt x="1005350" y="2448286"/>
                </a:lnTo>
                <a:close/>
                <a:moveTo>
                  <a:pt x="769375" y="2448286"/>
                </a:moveTo>
                <a:lnTo>
                  <a:pt x="720214" y="2477782"/>
                </a:lnTo>
                <a:lnTo>
                  <a:pt x="777978" y="2601914"/>
                </a:lnTo>
                <a:lnTo>
                  <a:pt x="827139" y="2572417"/>
                </a:lnTo>
                <a:lnTo>
                  <a:pt x="769375" y="2448286"/>
                </a:lnTo>
                <a:close/>
                <a:moveTo>
                  <a:pt x="178209" y="2448286"/>
                </a:moveTo>
                <a:lnTo>
                  <a:pt x="119216" y="2453202"/>
                </a:lnTo>
                <a:lnTo>
                  <a:pt x="129048" y="2601914"/>
                </a:lnTo>
                <a:lnTo>
                  <a:pt x="188042" y="2596998"/>
                </a:lnTo>
                <a:lnTo>
                  <a:pt x="178209" y="2448286"/>
                </a:lnTo>
                <a:close/>
                <a:moveTo>
                  <a:pt x="297426" y="2448286"/>
                </a:moveTo>
                <a:lnTo>
                  <a:pt x="240891" y="2458118"/>
                </a:lnTo>
                <a:lnTo>
                  <a:pt x="260555" y="2601914"/>
                </a:lnTo>
                <a:lnTo>
                  <a:pt x="317091" y="2592082"/>
                </a:lnTo>
                <a:lnTo>
                  <a:pt x="297426" y="2448286"/>
                </a:lnTo>
                <a:close/>
                <a:moveTo>
                  <a:pt x="415413" y="2448286"/>
                </a:moveTo>
                <a:lnTo>
                  <a:pt x="360106" y="2463034"/>
                </a:lnTo>
                <a:lnTo>
                  <a:pt x="389603" y="2601914"/>
                </a:lnTo>
                <a:lnTo>
                  <a:pt x="444910" y="2587166"/>
                </a:lnTo>
                <a:lnTo>
                  <a:pt x="415413" y="2448286"/>
                </a:lnTo>
                <a:close/>
                <a:moveTo>
                  <a:pt x="532171" y="2448286"/>
                </a:moveTo>
                <a:lnTo>
                  <a:pt x="479323" y="2467950"/>
                </a:lnTo>
                <a:lnTo>
                  <a:pt x="518652" y="2601914"/>
                </a:lnTo>
                <a:lnTo>
                  <a:pt x="571500" y="2582250"/>
                </a:lnTo>
                <a:lnTo>
                  <a:pt x="532171" y="2448286"/>
                </a:lnTo>
                <a:close/>
                <a:moveTo>
                  <a:pt x="415413" y="2641243"/>
                </a:moveTo>
                <a:lnTo>
                  <a:pt x="360106" y="2655992"/>
                </a:lnTo>
                <a:lnTo>
                  <a:pt x="389603" y="2794873"/>
                </a:lnTo>
                <a:lnTo>
                  <a:pt x="444910" y="2780125"/>
                </a:lnTo>
                <a:lnTo>
                  <a:pt x="415413" y="2641243"/>
                </a:lnTo>
                <a:close/>
                <a:moveTo>
                  <a:pt x="651388" y="2641243"/>
                </a:moveTo>
                <a:lnTo>
                  <a:pt x="599769" y="2665824"/>
                </a:lnTo>
                <a:lnTo>
                  <a:pt x="648930" y="2794873"/>
                </a:lnTo>
                <a:lnTo>
                  <a:pt x="699320" y="2769063"/>
                </a:lnTo>
                <a:lnTo>
                  <a:pt x="651388" y="2641243"/>
                </a:lnTo>
                <a:close/>
                <a:moveTo>
                  <a:pt x="769375" y="2642473"/>
                </a:moveTo>
                <a:lnTo>
                  <a:pt x="720214" y="2671970"/>
                </a:lnTo>
                <a:lnTo>
                  <a:pt x="777978" y="2796101"/>
                </a:lnTo>
                <a:lnTo>
                  <a:pt x="827139" y="2766605"/>
                </a:lnTo>
                <a:lnTo>
                  <a:pt x="769375" y="2642473"/>
                </a:lnTo>
                <a:close/>
                <a:moveTo>
                  <a:pt x="887362" y="2642473"/>
                </a:moveTo>
                <a:lnTo>
                  <a:pt x="840659" y="2676886"/>
                </a:lnTo>
                <a:lnTo>
                  <a:pt x="908255" y="2796101"/>
                </a:lnTo>
                <a:lnTo>
                  <a:pt x="954959" y="2761689"/>
                </a:lnTo>
                <a:lnTo>
                  <a:pt x="887362" y="2642473"/>
                </a:lnTo>
                <a:close/>
                <a:moveTo>
                  <a:pt x="1005350" y="2642473"/>
                </a:moveTo>
                <a:lnTo>
                  <a:pt x="959875" y="2681802"/>
                </a:lnTo>
                <a:lnTo>
                  <a:pt x="1037304" y="2794873"/>
                </a:lnTo>
                <a:lnTo>
                  <a:pt x="1082778" y="2755544"/>
                </a:lnTo>
                <a:lnTo>
                  <a:pt x="1005350" y="2642473"/>
                </a:lnTo>
                <a:close/>
                <a:moveTo>
                  <a:pt x="1123337" y="2642473"/>
                </a:moveTo>
                <a:lnTo>
                  <a:pt x="1080320" y="2686718"/>
                </a:lnTo>
                <a:lnTo>
                  <a:pt x="1167582" y="2796101"/>
                </a:lnTo>
                <a:lnTo>
                  <a:pt x="1210598" y="2751856"/>
                </a:lnTo>
                <a:lnTo>
                  <a:pt x="1123337" y="2642473"/>
                </a:lnTo>
                <a:close/>
                <a:moveTo>
                  <a:pt x="1240094" y="2642473"/>
                </a:moveTo>
                <a:lnTo>
                  <a:pt x="1199537" y="2691634"/>
                </a:lnTo>
                <a:lnTo>
                  <a:pt x="1296630" y="2794873"/>
                </a:lnTo>
                <a:lnTo>
                  <a:pt x="1338417" y="2745712"/>
                </a:lnTo>
                <a:lnTo>
                  <a:pt x="1240094" y="2642473"/>
                </a:lnTo>
                <a:close/>
                <a:moveTo>
                  <a:pt x="1359311" y="2642473"/>
                </a:moveTo>
                <a:lnTo>
                  <a:pt x="1319982" y="2696550"/>
                </a:lnTo>
                <a:lnTo>
                  <a:pt x="1426908" y="2794873"/>
                </a:lnTo>
                <a:lnTo>
                  <a:pt x="1466237" y="2740796"/>
                </a:lnTo>
                <a:lnTo>
                  <a:pt x="1359311" y="2642473"/>
                </a:lnTo>
                <a:close/>
                <a:moveTo>
                  <a:pt x="532171" y="2642473"/>
                </a:moveTo>
                <a:lnTo>
                  <a:pt x="479323" y="2662137"/>
                </a:lnTo>
                <a:lnTo>
                  <a:pt x="518652" y="2796101"/>
                </a:lnTo>
                <a:lnTo>
                  <a:pt x="571500" y="2776437"/>
                </a:lnTo>
                <a:lnTo>
                  <a:pt x="532171" y="2642473"/>
                </a:lnTo>
                <a:close/>
                <a:moveTo>
                  <a:pt x="179439" y="2642473"/>
                </a:moveTo>
                <a:lnTo>
                  <a:pt x="120445" y="2647389"/>
                </a:lnTo>
                <a:lnTo>
                  <a:pt x="129048" y="2796101"/>
                </a:lnTo>
                <a:lnTo>
                  <a:pt x="189271" y="2791185"/>
                </a:lnTo>
                <a:lnTo>
                  <a:pt x="179439" y="2642473"/>
                </a:lnTo>
                <a:close/>
                <a:moveTo>
                  <a:pt x="296197" y="2642473"/>
                </a:moveTo>
                <a:lnTo>
                  <a:pt x="239661" y="2652305"/>
                </a:lnTo>
                <a:lnTo>
                  <a:pt x="259326" y="2796101"/>
                </a:lnTo>
                <a:lnTo>
                  <a:pt x="315861" y="2786269"/>
                </a:lnTo>
                <a:lnTo>
                  <a:pt x="296197" y="2642473"/>
                </a:lnTo>
                <a:close/>
                <a:moveTo>
                  <a:pt x="178209" y="2836660"/>
                </a:moveTo>
                <a:lnTo>
                  <a:pt x="119216" y="2841576"/>
                </a:lnTo>
                <a:lnTo>
                  <a:pt x="129048" y="2990289"/>
                </a:lnTo>
                <a:lnTo>
                  <a:pt x="188042" y="2985373"/>
                </a:lnTo>
                <a:lnTo>
                  <a:pt x="178209" y="2836660"/>
                </a:lnTo>
                <a:close/>
                <a:moveTo>
                  <a:pt x="296197" y="2836660"/>
                </a:moveTo>
                <a:lnTo>
                  <a:pt x="239661" y="2846493"/>
                </a:lnTo>
                <a:lnTo>
                  <a:pt x="259326" y="2990289"/>
                </a:lnTo>
                <a:lnTo>
                  <a:pt x="315861" y="2980457"/>
                </a:lnTo>
                <a:lnTo>
                  <a:pt x="296197" y="2836660"/>
                </a:lnTo>
                <a:close/>
                <a:moveTo>
                  <a:pt x="415413" y="2836660"/>
                </a:moveTo>
                <a:lnTo>
                  <a:pt x="360106" y="2851409"/>
                </a:lnTo>
                <a:lnTo>
                  <a:pt x="389603" y="2990289"/>
                </a:lnTo>
                <a:lnTo>
                  <a:pt x="444910" y="2975540"/>
                </a:lnTo>
                <a:lnTo>
                  <a:pt x="415413" y="2836660"/>
                </a:lnTo>
                <a:close/>
                <a:moveTo>
                  <a:pt x="532171" y="2836660"/>
                </a:moveTo>
                <a:lnTo>
                  <a:pt x="479323" y="2856325"/>
                </a:lnTo>
                <a:lnTo>
                  <a:pt x="518652" y="2990289"/>
                </a:lnTo>
                <a:lnTo>
                  <a:pt x="571500" y="2970624"/>
                </a:lnTo>
                <a:lnTo>
                  <a:pt x="532171" y="2836660"/>
                </a:lnTo>
                <a:close/>
                <a:moveTo>
                  <a:pt x="651388" y="2836660"/>
                </a:moveTo>
                <a:lnTo>
                  <a:pt x="599769" y="2861241"/>
                </a:lnTo>
                <a:lnTo>
                  <a:pt x="648930" y="2990289"/>
                </a:lnTo>
                <a:lnTo>
                  <a:pt x="699320" y="2964480"/>
                </a:lnTo>
                <a:lnTo>
                  <a:pt x="651388" y="2836660"/>
                </a:lnTo>
                <a:close/>
                <a:moveTo>
                  <a:pt x="769375" y="2836660"/>
                </a:moveTo>
                <a:lnTo>
                  <a:pt x="720214" y="2864927"/>
                </a:lnTo>
                <a:lnTo>
                  <a:pt x="777978" y="2989060"/>
                </a:lnTo>
                <a:lnTo>
                  <a:pt x="827139" y="2959564"/>
                </a:lnTo>
                <a:lnTo>
                  <a:pt x="769375" y="2836660"/>
                </a:lnTo>
                <a:close/>
                <a:moveTo>
                  <a:pt x="887362" y="2836660"/>
                </a:moveTo>
                <a:lnTo>
                  <a:pt x="840659" y="2871073"/>
                </a:lnTo>
                <a:lnTo>
                  <a:pt x="908255" y="2990289"/>
                </a:lnTo>
                <a:lnTo>
                  <a:pt x="954959" y="2955876"/>
                </a:lnTo>
                <a:lnTo>
                  <a:pt x="887362" y="2836660"/>
                </a:lnTo>
                <a:close/>
                <a:moveTo>
                  <a:pt x="1005350" y="2836660"/>
                </a:moveTo>
                <a:lnTo>
                  <a:pt x="959875" y="2874760"/>
                </a:lnTo>
                <a:lnTo>
                  <a:pt x="1037304" y="2989060"/>
                </a:lnTo>
                <a:lnTo>
                  <a:pt x="1082778" y="2949731"/>
                </a:lnTo>
                <a:lnTo>
                  <a:pt x="1005350" y="2836660"/>
                </a:lnTo>
                <a:close/>
                <a:moveTo>
                  <a:pt x="1240094" y="2836660"/>
                </a:moveTo>
                <a:lnTo>
                  <a:pt x="1199537" y="2885822"/>
                </a:lnTo>
                <a:lnTo>
                  <a:pt x="1296630" y="2990289"/>
                </a:lnTo>
                <a:lnTo>
                  <a:pt x="1338417" y="2941127"/>
                </a:lnTo>
                <a:lnTo>
                  <a:pt x="1240094" y="2836660"/>
                </a:lnTo>
                <a:close/>
                <a:moveTo>
                  <a:pt x="1359311" y="2836660"/>
                </a:moveTo>
                <a:lnTo>
                  <a:pt x="1319982" y="2890738"/>
                </a:lnTo>
                <a:lnTo>
                  <a:pt x="1426908" y="2989060"/>
                </a:lnTo>
                <a:lnTo>
                  <a:pt x="1466237" y="2934983"/>
                </a:lnTo>
                <a:lnTo>
                  <a:pt x="1359311" y="2836660"/>
                </a:lnTo>
                <a:close/>
                <a:moveTo>
                  <a:pt x="1123337" y="2837889"/>
                </a:moveTo>
                <a:lnTo>
                  <a:pt x="1080320" y="2882134"/>
                </a:lnTo>
                <a:lnTo>
                  <a:pt x="1167582" y="2990289"/>
                </a:lnTo>
                <a:lnTo>
                  <a:pt x="1210598" y="2946044"/>
                </a:lnTo>
                <a:lnTo>
                  <a:pt x="1123337" y="2837889"/>
                </a:lnTo>
                <a:close/>
                <a:moveTo>
                  <a:pt x="178209" y="3030848"/>
                </a:moveTo>
                <a:lnTo>
                  <a:pt x="119216" y="3035764"/>
                </a:lnTo>
                <a:lnTo>
                  <a:pt x="129048" y="3184476"/>
                </a:lnTo>
                <a:lnTo>
                  <a:pt x="188042" y="3179560"/>
                </a:lnTo>
                <a:lnTo>
                  <a:pt x="178209" y="3030848"/>
                </a:lnTo>
                <a:close/>
                <a:moveTo>
                  <a:pt x="296197" y="3030848"/>
                </a:moveTo>
                <a:lnTo>
                  <a:pt x="239661" y="3040680"/>
                </a:lnTo>
                <a:lnTo>
                  <a:pt x="259326" y="3184476"/>
                </a:lnTo>
                <a:lnTo>
                  <a:pt x="315861" y="3174644"/>
                </a:lnTo>
                <a:lnTo>
                  <a:pt x="296197" y="3030848"/>
                </a:lnTo>
                <a:close/>
                <a:moveTo>
                  <a:pt x="415413" y="3030848"/>
                </a:moveTo>
                <a:lnTo>
                  <a:pt x="360106" y="3045596"/>
                </a:lnTo>
                <a:lnTo>
                  <a:pt x="389603" y="3184476"/>
                </a:lnTo>
                <a:lnTo>
                  <a:pt x="444910" y="3169728"/>
                </a:lnTo>
                <a:lnTo>
                  <a:pt x="415413" y="3030848"/>
                </a:lnTo>
                <a:close/>
                <a:moveTo>
                  <a:pt x="532171" y="3030848"/>
                </a:moveTo>
                <a:lnTo>
                  <a:pt x="479323" y="3050512"/>
                </a:lnTo>
                <a:lnTo>
                  <a:pt x="518652" y="3184476"/>
                </a:lnTo>
                <a:lnTo>
                  <a:pt x="571500" y="3164812"/>
                </a:lnTo>
                <a:lnTo>
                  <a:pt x="532171" y="3030848"/>
                </a:lnTo>
                <a:close/>
                <a:moveTo>
                  <a:pt x="651388" y="3030848"/>
                </a:moveTo>
                <a:lnTo>
                  <a:pt x="599769" y="3055428"/>
                </a:lnTo>
                <a:lnTo>
                  <a:pt x="648930" y="3184476"/>
                </a:lnTo>
                <a:lnTo>
                  <a:pt x="699320" y="3158667"/>
                </a:lnTo>
                <a:lnTo>
                  <a:pt x="651388" y="3030848"/>
                </a:lnTo>
                <a:close/>
                <a:moveTo>
                  <a:pt x="887362" y="3030848"/>
                </a:moveTo>
                <a:lnTo>
                  <a:pt x="840659" y="3065260"/>
                </a:lnTo>
                <a:lnTo>
                  <a:pt x="908255" y="3184476"/>
                </a:lnTo>
                <a:lnTo>
                  <a:pt x="954959" y="3148835"/>
                </a:lnTo>
                <a:lnTo>
                  <a:pt x="887362" y="3030848"/>
                </a:lnTo>
                <a:close/>
                <a:moveTo>
                  <a:pt x="1005350" y="3030848"/>
                </a:moveTo>
                <a:lnTo>
                  <a:pt x="959875" y="3070177"/>
                </a:lnTo>
                <a:lnTo>
                  <a:pt x="1037304" y="3183248"/>
                </a:lnTo>
                <a:lnTo>
                  <a:pt x="1082778" y="3143919"/>
                </a:lnTo>
                <a:lnTo>
                  <a:pt x="1005350" y="3030848"/>
                </a:lnTo>
                <a:close/>
                <a:moveTo>
                  <a:pt x="1240094" y="3030848"/>
                </a:moveTo>
                <a:lnTo>
                  <a:pt x="1199537" y="3080009"/>
                </a:lnTo>
                <a:lnTo>
                  <a:pt x="1296630" y="3184476"/>
                </a:lnTo>
                <a:lnTo>
                  <a:pt x="1338417" y="3135315"/>
                </a:lnTo>
                <a:lnTo>
                  <a:pt x="1240094" y="3030848"/>
                </a:lnTo>
                <a:close/>
                <a:moveTo>
                  <a:pt x="1359311" y="3032076"/>
                </a:moveTo>
                <a:lnTo>
                  <a:pt x="1319982" y="3086153"/>
                </a:lnTo>
                <a:lnTo>
                  <a:pt x="1426908" y="3185706"/>
                </a:lnTo>
                <a:lnTo>
                  <a:pt x="1466237" y="3130399"/>
                </a:lnTo>
                <a:lnTo>
                  <a:pt x="1359311" y="3032076"/>
                </a:lnTo>
                <a:close/>
                <a:moveTo>
                  <a:pt x="1123337" y="3032076"/>
                </a:moveTo>
                <a:lnTo>
                  <a:pt x="1080320" y="3076321"/>
                </a:lnTo>
                <a:lnTo>
                  <a:pt x="1167582" y="3184476"/>
                </a:lnTo>
                <a:lnTo>
                  <a:pt x="1210598" y="3140231"/>
                </a:lnTo>
                <a:lnTo>
                  <a:pt x="1123337" y="3032076"/>
                </a:lnTo>
                <a:close/>
                <a:moveTo>
                  <a:pt x="770604" y="3032076"/>
                </a:moveTo>
                <a:lnTo>
                  <a:pt x="721442" y="3061573"/>
                </a:lnTo>
                <a:lnTo>
                  <a:pt x="779207" y="3185706"/>
                </a:lnTo>
                <a:lnTo>
                  <a:pt x="828369" y="3154979"/>
                </a:lnTo>
                <a:lnTo>
                  <a:pt x="770604" y="3032076"/>
                </a:lnTo>
                <a:close/>
                <a:moveTo>
                  <a:pt x="178209" y="3225035"/>
                </a:moveTo>
                <a:lnTo>
                  <a:pt x="119216" y="3229951"/>
                </a:lnTo>
                <a:lnTo>
                  <a:pt x="129048" y="3378663"/>
                </a:lnTo>
                <a:lnTo>
                  <a:pt x="188042" y="3373747"/>
                </a:lnTo>
                <a:lnTo>
                  <a:pt x="178209" y="3225035"/>
                </a:lnTo>
                <a:close/>
                <a:moveTo>
                  <a:pt x="296197" y="3225035"/>
                </a:moveTo>
                <a:lnTo>
                  <a:pt x="239661" y="3234867"/>
                </a:lnTo>
                <a:lnTo>
                  <a:pt x="259326" y="3378663"/>
                </a:lnTo>
                <a:lnTo>
                  <a:pt x="315861" y="3368831"/>
                </a:lnTo>
                <a:lnTo>
                  <a:pt x="296197" y="3225035"/>
                </a:lnTo>
                <a:close/>
                <a:moveTo>
                  <a:pt x="415413" y="3225035"/>
                </a:moveTo>
                <a:lnTo>
                  <a:pt x="360106" y="3239783"/>
                </a:lnTo>
                <a:lnTo>
                  <a:pt x="389603" y="3378663"/>
                </a:lnTo>
                <a:lnTo>
                  <a:pt x="444910" y="3363915"/>
                </a:lnTo>
                <a:lnTo>
                  <a:pt x="415413" y="3225035"/>
                </a:lnTo>
                <a:close/>
                <a:moveTo>
                  <a:pt x="532171" y="3225035"/>
                </a:moveTo>
                <a:lnTo>
                  <a:pt x="479323" y="3244699"/>
                </a:lnTo>
                <a:lnTo>
                  <a:pt x="518652" y="3378663"/>
                </a:lnTo>
                <a:lnTo>
                  <a:pt x="571500" y="3358999"/>
                </a:lnTo>
                <a:lnTo>
                  <a:pt x="532171" y="3225035"/>
                </a:lnTo>
                <a:close/>
                <a:moveTo>
                  <a:pt x="651388" y="3225035"/>
                </a:moveTo>
                <a:lnTo>
                  <a:pt x="599769" y="3249616"/>
                </a:lnTo>
                <a:lnTo>
                  <a:pt x="648930" y="3378663"/>
                </a:lnTo>
                <a:lnTo>
                  <a:pt x="699320" y="3352854"/>
                </a:lnTo>
                <a:lnTo>
                  <a:pt x="651388" y="3225035"/>
                </a:lnTo>
                <a:close/>
                <a:moveTo>
                  <a:pt x="1123337" y="3225035"/>
                </a:moveTo>
                <a:lnTo>
                  <a:pt x="1080320" y="3269280"/>
                </a:lnTo>
                <a:lnTo>
                  <a:pt x="1167582" y="3378663"/>
                </a:lnTo>
                <a:lnTo>
                  <a:pt x="1210598" y="3334418"/>
                </a:lnTo>
                <a:lnTo>
                  <a:pt x="1123337" y="3225035"/>
                </a:lnTo>
                <a:close/>
                <a:moveTo>
                  <a:pt x="1241324" y="3225035"/>
                </a:moveTo>
                <a:lnTo>
                  <a:pt x="1200765" y="3274196"/>
                </a:lnTo>
                <a:lnTo>
                  <a:pt x="1297860" y="3378663"/>
                </a:lnTo>
                <a:lnTo>
                  <a:pt x="1338417" y="3329502"/>
                </a:lnTo>
                <a:lnTo>
                  <a:pt x="1241324" y="3225035"/>
                </a:lnTo>
                <a:close/>
                <a:moveTo>
                  <a:pt x="1359311" y="3226263"/>
                </a:moveTo>
                <a:lnTo>
                  <a:pt x="1319982" y="3280341"/>
                </a:lnTo>
                <a:lnTo>
                  <a:pt x="1426908" y="3379893"/>
                </a:lnTo>
                <a:lnTo>
                  <a:pt x="1466237" y="3324586"/>
                </a:lnTo>
                <a:lnTo>
                  <a:pt x="1359311" y="3226263"/>
                </a:lnTo>
                <a:close/>
                <a:moveTo>
                  <a:pt x="1477299" y="3226263"/>
                </a:moveTo>
                <a:lnTo>
                  <a:pt x="1440428" y="3285257"/>
                </a:lnTo>
                <a:lnTo>
                  <a:pt x="1557185" y="3378663"/>
                </a:lnTo>
                <a:lnTo>
                  <a:pt x="1594056" y="3319670"/>
                </a:lnTo>
                <a:lnTo>
                  <a:pt x="1477299" y="3226263"/>
                </a:lnTo>
                <a:close/>
                <a:moveTo>
                  <a:pt x="769375" y="3226263"/>
                </a:moveTo>
                <a:lnTo>
                  <a:pt x="720214" y="3255760"/>
                </a:lnTo>
                <a:lnTo>
                  <a:pt x="777978" y="3379893"/>
                </a:lnTo>
                <a:lnTo>
                  <a:pt x="827139" y="3350396"/>
                </a:lnTo>
                <a:lnTo>
                  <a:pt x="769375" y="3226263"/>
                </a:lnTo>
                <a:close/>
                <a:moveTo>
                  <a:pt x="887362" y="3226263"/>
                </a:moveTo>
                <a:lnTo>
                  <a:pt x="840659" y="3260676"/>
                </a:lnTo>
                <a:lnTo>
                  <a:pt x="908255" y="3378663"/>
                </a:lnTo>
                <a:lnTo>
                  <a:pt x="954959" y="3344250"/>
                </a:lnTo>
                <a:lnTo>
                  <a:pt x="887362" y="3226263"/>
                </a:lnTo>
                <a:close/>
                <a:moveTo>
                  <a:pt x="1005350" y="3226263"/>
                </a:moveTo>
                <a:lnTo>
                  <a:pt x="959875" y="3265592"/>
                </a:lnTo>
                <a:lnTo>
                  <a:pt x="1037304" y="3378663"/>
                </a:lnTo>
                <a:lnTo>
                  <a:pt x="1082778" y="3339334"/>
                </a:lnTo>
                <a:lnTo>
                  <a:pt x="1005350" y="3226263"/>
                </a:lnTo>
                <a:close/>
                <a:moveTo>
                  <a:pt x="415413" y="3419222"/>
                </a:moveTo>
                <a:lnTo>
                  <a:pt x="360106" y="3433971"/>
                </a:lnTo>
                <a:lnTo>
                  <a:pt x="389603" y="3572851"/>
                </a:lnTo>
                <a:lnTo>
                  <a:pt x="444910" y="3556874"/>
                </a:lnTo>
                <a:lnTo>
                  <a:pt x="415413" y="3419222"/>
                </a:lnTo>
                <a:close/>
                <a:moveTo>
                  <a:pt x="1359311" y="3419222"/>
                </a:moveTo>
                <a:lnTo>
                  <a:pt x="1319982" y="3474528"/>
                </a:lnTo>
                <a:lnTo>
                  <a:pt x="1426908" y="3571622"/>
                </a:lnTo>
                <a:lnTo>
                  <a:pt x="1466237" y="3517545"/>
                </a:lnTo>
                <a:lnTo>
                  <a:pt x="1359311" y="3419222"/>
                </a:lnTo>
                <a:close/>
                <a:moveTo>
                  <a:pt x="532171" y="3420451"/>
                </a:moveTo>
                <a:lnTo>
                  <a:pt x="479323" y="3440115"/>
                </a:lnTo>
                <a:lnTo>
                  <a:pt x="518652" y="3574080"/>
                </a:lnTo>
                <a:lnTo>
                  <a:pt x="571500" y="3554416"/>
                </a:lnTo>
                <a:lnTo>
                  <a:pt x="532171" y="3420451"/>
                </a:lnTo>
                <a:close/>
                <a:moveTo>
                  <a:pt x="651388" y="3420451"/>
                </a:moveTo>
                <a:lnTo>
                  <a:pt x="599769" y="3445031"/>
                </a:lnTo>
                <a:lnTo>
                  <a:pt x="648930" y="3574080"/>
                </a:lnTo>
                <a:lnTo>
                  <a:pt x="699320" y="3549500"/>
                </a:lnTo>
                <a:lnTo>
                  <a:pt x="651388" y="3420451"/>
                </a:lnTo>
                <a:close/>
                <a:moveTo>
                  <a:pt x="768145" y="3420451"/>
                </a:moveTo>
                <a:lnTo>
                  <a:pt x="720214" y="3449947"/>
                </a:lnTo>
                <a:lnTo>
                  <a:pt x="777978" y="3572851"/>
                </a:lnTo>
                <a:lnTo>
                  <a:pt x="827139" y="3543354"/>
                </a:lnTo>
                <a:lnTo>
                  <a:pt x="768145" y="3420451"/>
                </a:lnTo>
                <a:close/>
                <a:moveTo>
                  <a:pt x="887362" y="3420451"/>
                </a:moveTo>
                <a:lnTo>
                  <a:pt x="840659" y="3454863"/>
                </a:lnTo>
                <a:lnTo>
                  <a:pt x="908255" y="3574080"/>
                </a:lnTo>
                <a:lnTo>
                  <a:pt x="954959" y="3539667"/>
                </a:lnTo>
                <a:lnTo>
                  <a:pt x="887362" y="3420451"/>
                </a:lnTo>
                <a:close/>
                <a:moveTo>
                  <a:pt x="1005350" y="3420451"/>
                </a:moveTo>
                <a:lnTo>
                  <a:pt x="959875" y="3459780"/>
                </a:lnTo>
                <a:lnTo>
                  <a:pt x="1037304" y="3572851"/>
                </a:lnTo>
                <a:lnTo>
                  <a:pt x="1082778" y="3533522"/>
                </a:lnTo>
                <a:lnTo>
                  <a:pt x="1005350" y="3420451"/>
                </a:lnTo>
                <a:close/>
                <a:moveTo>
                  <a:pt x="1123337" y="3420451"/>
                </a:moveTo>
                <a:lnTo>
                  <a:pt x="1080320" y="3464696"/>
                </a:lnTo>
                <a:lnTo>
                  <a:pt x="1167582" y="3574080"/>
                </a:lnTo>
                <a:lnTo>
                  <a:pt x="1210598" y="3529835"/>
                </a:lnTo>
                <a:lnTo>
                  <a:pt x="1123337" y="3420451"/>
                </a:lnTo>
                <a:close/>
                <a:moveTo>
                  <a:pt x="1242552" y="3420451"/>
                </a:moveTo>
                <a:lnTo>
                  <a:pt x="1200765" y="3469612"/>
                </a:lnTo>
                <a:lnTo>
                  <a:pt x="1297860" y="3574080"/>
                </a:lnTo>
                <a:lnTo>
                  <a:pt x="1338417" y="3524919"/>
                </a:lnTo>
                <a:lnTo>
                  <a:pt x="1242552" y="3420451"/>
                </a:lnTo>
                <a:close/>
                <a:moveTo>
                  <a:pt x="178209" y="3420451"/>
                </a:moveTo>
                <a:lnTo>
                  <a:pt x="119216" y="3425367"/>
                </a:lnTo>
                <a:lnTo>
                  <a:pt x="129048" y="3574080"/>
                </a:lnTo>
                <a:lnTo>
                  <a:pt x="188042" y="3569164"/>
                </a:lnTo>
                <a:lnTo>
                  <a:pt x="178209" y="3420451"/>
                </a:lnTo>
                <a:close/>
                <a:moveTo>
                  <a:pt x="296197" y="3420451"/>
                </a:moveTo>
                <a:lnTo>
                  <a:pt x="239661" y="3430283"/>
                </a:lnTo>
                <a:lnTo>
                  <a:pt x="259326" y="3574080"/>
                </a:lnTo>
                <a:lnTo>
                  <a:pt x="315861" y="3564248"/>
                </a:lnTo>
                <a:lnTo>
                  <a:pt x="296197" y="3420451"/>
                </a:lnTo>
                <a:close/>
                <a:moveTo>
                  <a:pt x="415413" y="3607264"/>
                </a:moveTo>
                <a:lnTo>
                  <a:pt x="360106" y="3622012"/>
                </a:lnTo>
                <a:lnTo>
                  <a:pt x="389603" y="3760894"/>
                </a:lnTo>
                <a:lnTo>
                  <a:pt x="444910" y="3746145"/>
                </a:lnTo>
                <a:lnTo>
                  <a:pt x="415413" y="3607264"/>
                </a:lnTo>
                <a:close/>
                <a:moveTo>
                  <a:pt x="651388" y="3607264"/>
                </a:moveTo>
                <a:lnTo>
                  <a:pt x="599769" y="3631844"/>
                </a:lnTo>
                <a:lnTo>
                  <a:pt x="648930" y="3760894"/>
                </a:lnTo>
                <a:lnTo>
                  <a:pt x="699320" y="3736313"/>
                </a:lnTo>
                <a:lnTo>
                  <a:pt x="651388" y="3607264"/>
                </a:lnTo>
                <a:close/>
                <a:moveTo>
                  <a:pt x="1123337" y="3607264"/>
                </a:moveTo>
                <a:lnTo>
                  <a:pt x="1080320" y="3652739"/>
                </a:lnTo>
                <a:lnTo>
                  <a:pt x="1167582" y="3760894"/>
                </a:lnTo>
                <a:lnTo>
                  <a:pt x="1210598" y="3716648"/>
                </a:lnTo>
                <a:lnTo>
                  <a:pt x="1123337" y="3607264"/>
                </a:lnTo>
                <a:close/>
                <a:moveTo>
                  <a:pt x="1241324" y="3607264"/>
                </a:moveTo>
                <a:lnTo>
                  <a:pt x="1199537" y="3657655"/>
                </a:lnTo>
                <a:lnTo>
                  <a:pt x="1297860" y="3760894"/>
                </a:lnTo>
                <a:lnTo>
                  <a:pt x="1338417" y="3711732"/>
                </a:lnTo>
                <a:lnTo>
                  <a:pt x="1241324" y="3607264"/>
                </a:lnTo>
                <a:close/>
                <a:moveTo>
                  <a:pt x="1359311" y="3607264"/>
                </a:moveTo>
                <a:lnTo>
                  <a:pt x="1319982" y="3662571"/>
                </a:lnTo>
                <a:lnTo>
                  <a:pt x="1426908" y="3759664"/>
                </a:lnTo>
                <a:lnTo>
                  <a:pt x="1466237" y="3705586"/>
                </a:lnTo>
                <a:lnTo>
                  <a:pt x="1359311" y="3607264"/>
                </a:lnTo>
                <a:close/>
                <a:moveTo>
                  <a:pt x="769375" y="3608493"/>
                </a:moveTo>
                <a:lnTo>
                  <a:pt x="720214" y="3639219"/>
                </a:lnTo>
                <a:lnTo>
                  <a:pt x="777978" y="3762122"/>
                </a:lnTo>
                <a:lnTo>
                  <a:pt x="827139" y="3732625"/>
                </a:lnTo>
                <a:lnTo>
                  <a:pt x="769375" y="3608493"/>
                </a:lnTo>
                <a:close/>
                <a:moveTo>
                  <a:pt x="1005350" y="3608493"/>
                </a:moveTo>
                <a:lnTo>
                  <a:pt x="959875" y="3649051"/>
                </a:lnTo>
                <a:lnTo>
                  <a:pt x="1037304" y="3762122"/>
                </a:lnTo>
                <a:lnTo>
                  <a:pt x="1082778" y="3722793"/>
                </a:lnTo>
                <a:lnTo>
                  <a:pt x="1005350" y="3608493"/>
                </a:lnTo>
                <a:close/>
                <a:moveTo>
                  <a:pt x="887362" y="3609722"/>
                </a:moveTo>
                <a:lnTo>
                  <a:pt x="840659" y="3644135"/>
                </a:lnTo>
                <a:lnTo>
                  <a:pt x="908255" y="3762122"/>
                </a:lnTo>
                <a:lnTo>
                  <a:pt x="954959" y="3728939"/>
                </a:lnTo>
                <a:lnTo>
                  <a:pt x="887362" y="3609722"/>
                </a:lnTo>
                <a:close/>
                <a:moveTo>
                  <a:pt x="532171" y="3608493"/>
                </a:moveTo>
                <a:lnTo>
                  <a:pt x="479323" y="3628158"/>
                </a:lnTo>
                <a:lnTo>
                  <a:pt x="518652" y="3760894"/>
                </a:lnTo>
                <a:lnTo>
                  <a:pt x="571500" y="3742457"/>
                </a:lnTo>
                <a:lnTo>
                  <a:pt x="532171" y="3608493"/>
                </a:lnTo>
                <a:close/>
                <a:moveTo>
                  <a:pt x="178209" y="3608493"/>
                </a:moveTo>
                <a:lnTo>
                  <a:pt x="119216" y="3613409"/>
                </a:lnTo>
                <a:lnTo>
                  <a:pt x="129048" y="3762122"/>
                </a:lnTo>
                <a:lnTo>
                  <a:pt x="188042" y="3757206"/>
                </a:lnTo>
                <a:lnTo>
                  <a:pt x="178209" y="3608493"/>
                </a:lnTo>
                <a:close/>
                <a:moveTo>
                  <a:pt x="296197" y="3608493"/>
                </a:moveTo>
                <a:lnTo>
                  <a:pt x="239661" y="3618326"/>
                </a:lnTo>
                <a:lnTo>
                  <a:pt x="259326" y="3762122"/>
                </a:lnTo>
                <a:lnTo>
                  <a:pt x="315861" y="3752290"/>
                </a:lnTo>
                <a:lnTo>
                  <a:pt x="296197" y="3608493"/>
                </a:lnTo>
                <a:close/>
                <a:moveTo>
                  <a:pt x="178209" y="3798993"/>
                </a:moveTo>
                <a:lnTo>
                  <a:pt x="119216" y="3803909"/>
                </a:lnTo>
                <a:lnTo>
                  <a:pt x="129048" y="3952623"/>
                </a:lnTo>
                <a:lnTo>
                  <a:pt x="188042" y="3947707"/>
                </a:lnTo>
                <a:lnTo>
                  <a:pt x="178209" y="3798993"/>
                </a:lnTo>
                <a:close/>
                <a:moveTo>
                  <a:pt x="296197" y="3798993"/>
                </a:moveTo>
                <a:lnTo>
                  <a:pt x="239661" y="3808825"/>
                </a:lnTo>
                <a:lnTo>
                  <a:pt x="259326" y="3952623"/>
                </a:lnTo>
                <a:lnTo>
                  <a:pt x="315861" y="3942790"/>
                </a:lnTo>
                <a:lnTo>
                  <a:pt x="296197" y="3798993"/>
                </a:lnTo>
                <a:close/>
                <a:moveTo>
                  <a:pt x="651388" y="3798993"/>
                </a:moveTo>
                <a:lnTo>
                  <a:pt x="599769" y="3823574"/>
                </a:lnTo>
                <a:lnTo>
                  <a:pt x="648930" y="3952623"/>
                </a:lnTo>
                <a:lnTo>
                  <a:pt x="699320" y="3928042"/>
                </a:lnTo>
                <a:lnTo>
                  <a:pt x="651388" y="3798993"/>
                </a:lnTo>
                <a:close/>
                <a:moveTo>
                  <a:pt x="887362" y="3798993"/>
                </a:moveTo>
                <a:lnTo>
                  <a:pt x="840659" y="3833406"/>
                </a:lnTo>
                <a:lnTo>
                  <a:pt x="908255" y="3952623"/>
                </a:lnTo>
                <a:lnTo>
                  <a:pt x="954959" y="3918210"/>
                </a:lnTo>
                <a:lnTo>
                  <a:pt x="887362" y="3798993"/>
                </a:lnTo>
                <a:close/>
                <a:moveTo>
                  <a:pt x="1005350" y="3800223"/>
                </a:moveTo>
                <a:lnTo>
                  <a:pt x="959875" y="3839552"/>
                </a:lnTo>
                <a:lnTo>
                  <a:pt x="1037304" y="3952623"/>
                </a:lnTo>
                <a:lnTo>
                  <a:pt x="1082778" y="3913294"/>
                </a:lnTo>
                <a:lnTo>
                  <a:pt x="1005350" y="3800223"/>
                </a:lnTo>
                <a:close/>
                <a:moveTo>
                  <a:pt x="1123337" y="3800223"/>
                </a:moveTo>
                <a:lnTo>
                  <a:pt x="1080320" y="3844468"/>
                </a:lnTo>
                <a:lnTo>
                  <a:pt x="1167582" y="3952623"/>
                </a:lnTo>
                <a:lnTo>
                  <a:pt x="1210598" y="3908378"/>
                </a:lnTo>
                <a:lnTo>
                  <a:pt x="1123337" y="3800223"/>
                </a:lnTo>
                <a:close/>
                <a:moveTo>
                  <a:pt x="1241324" y="3800223"/>
                </a:moveTo>
                <a:lnTo>
                  <a:pt x="1199537" y="3849384"/>
                </a:lnTo>
                <a:lnTo>
                  <a:pt x="1297860" y="3953851"/>
                </a:lnTo>
                <a:lnTo>
                  <a:pt x="1338417" y="3904690"/>
                </a:lnTo>
                <a:lnTo>
                  <a:pt x="1241324" y="3800223"/>
                </a:lnTo>
                <a:close/>
                <a:moveTo>
                  <a:pt x="1359311" y="3800223"/>
                </a:moveTo>
                <a:lnTo>
                  <a:pt x="1319982" y="3854300"/>
                </a:lnTo>
                <a:lnTo>
                  <a:pt x="1426908" y="3952623"/>
                </a:lnTo>
                <a:lnTo>
                  <a:pt x="1466237" y="3898545"/>
                </a:lnTo>
                <a:lnTo>
                  <a:pt x="1359311" y="3800223"/>
                </a:lnTo>
                <a:close/>
                <a:moveTo>
                  <a:pt x="769375" y="3800223"/>
                </a:moveTo>
                <a:lnTo>
                  <a:pt x="720214" y="3829719"/>
                </a:lnTo>
                <a:lnTo>
                  <a:pt x="777978" y="3953851"/>
                </a:lnTo>
                <a:lnTo>
                  <a:pt x="827139" y="3924354"/>
                </a:lnTo>
                <a:lnTo>
                  <a:pt x="769375" y="3800223"/>
                </a:lnTo>
                <a:close/>
                <a:moveTo>
                  <a:pt x="415413" y="3800223"/>
                </a:moveTo>
                <a:lnTo>
                  <a:pt x="360106" y="3814971"/>
                </a:lnTo>
                <a:lnTo>
                  <a:pt x="389603" y="3952623"/>
                </a:lnTo>
                <a:lnTo>
                  <a:pt x="444910" y="3939103"/>
                </a:lnTo>
                <a:lnTo>
                  <a:pt x="415413" y="3800223"/>
                </a:lnTo>
                <a:close/>
                <a:moveTo>
                  <a:pt x="532171" y="3800223"/>
                </a:moveTo>
                <a:lnTo>
                  <a:pt x="479323" y="3819887"/>
                </a:lnTo>
                <a:lnTo>
                  <a:pt x="518652" y="3952623"/>
                </a:lnTo>
                <a:lnTo>
                  <a:pt x="571500" y="3934187"/>
                </a:lnTo>
                <a:lnTo>
                  <a:pt x="532171" y="3800223"/>
                </a:lnTo>
                <a:close/>
                <a:moveTo>
                  <a:pt x="1240094" y="3990722"/>
                </a:moveTo>
                <a:lnTo>
                  <a:pt x="1198307" y="4039883"/>
                </a:lnTo>
                <a:lnTo>
                  <a:pt x="1200765" y="4042342"/>
                </a:lnTo>
                <a:lnTo>
                  <a:pt x="1199537" y="4044800"/>
                </a:lnTo>
                <a:lnTo>
                  <a:pt x="1296630" y="4149268"/>
                </a:lnTo>
                <a:lnTo>
                  <a:pt x="1338417" y="4100107"/>
                </a:lnTo>
                <a:lnTo>
                  <a:pt x="1335959" y="4097649"/>
                </a:lnTo>
                <a:lnTo>
                  <a:pt x="1337189" y="4095191"/>
                </a:lnTo>
                <a:lnTo>
                  <a:pt x="1240094" y="3990722"/>
                </a:lnTo>
                <a:close/>
                <a:moveTo>
                  <a:pt x="1359311" y="3991952"/>
                </a:moveTo>
                <a:lnTo>
                  <a:pt x="1319982" y="4046029"/>
                </a:lnTo>
                <a:lnTo>
                  <a:pt x="1322440" y="4048487"/>
                </a:lnTo>
                <a:lnTo>
                  <a:pt x="1321211" y="4050945"/>
                </a:lnTo>
                <a:lnTo>
                  <a:pt x="1428137" y="4149268"/>
                </a:lnTo>
                <a:lnTo>
                  <a:pt x="1467466" y="4095191"/>
                </a:lnTo>
                <a:lnTo>
                  <a:pt x="1465008" y="4092733"/>
                </a:lnTo>
                <a:lnTo>
                  <a:pt x="1466237" y="4090275"/>
                </a:lnTo>
                <a:lnTo>
                  <a:pt x="1359311" y="3991952"/>
                </a:lnTo>
                <a:close/>
                <a:moveTo>
                  <a:pt x="178209" y="3991952"/>
                </a:moveTo>
                <a:lnTo>
                  <a:pt x="119216" y="3996868"/>
                </a:lnTo>
                <a:lnTo>
                  <a:pt x="119216" y="4000554"/>
                </a:lnTo>
                <a:lnTo>
                  <a:pt x="129048" y="4149268"/>
                </a:lnTo>
                <a:lnTo>
                  <a:pt x="188042" y="4144352"/>
                </a:lnTo>
                <a:lnTo>
                  <a:pt x="188042" y="4140664"/>
                </a:lnTo>
                <a:lnTo>
                  <a:pt x="178209" y="3991952"/>
                </a:lnTo>
                <a:close/>
                <a:moveTo>
                  <a:pt x="296197" y="3991952"/>
                </a:moveTo>
                <a:lnTo>
                  <a:pt x="239661" y="4001784"/>
                </a:lnTo>
                <a:lnTo>
                  <a:pt x="240891" y="4006700"/>
                </a:lnTo>
                <a:lnTo>
                  <a:pt x="239661" y="4006700"/>
                </a:lnTo>
                <a:lnTo>
                  <a:pt x="259326" y="4150497"/>
                </a:lnTo>
                <a:lnTo>
                  <a:pt x="315861" y="4140664"/>
                </a:lnTo>
                <a:lnTo>
                  <a:pt x="314633" y="4135748"/>
                </a:lnTo>
                <a:lnTo>
                  <a:pt x="315861" y="4135748"/>
                </a:lnTo>
                <a:lnTo>
                  <a:pt x="296197" y="3991952"/>
                </a:lnTo>
                <a:close/>
                <a:moveTo>
                  <a:pt x="415413" y="3991952"/>
                </a:moveTo>
                <a:lnTo>
                  <a:pt x="360106" y="4006700"/>
                </a:lnTo>
                <a:lnTo>
                  <a:pt x="361336" y="4011616"/>
                </a:lnTo>
                <a:lnTo>
                  <a:pt x="360106" y="4011616"/>
                </a:lnTo>
                <a:lnTo>
                  <a:pt x="388375" y="4150497"/>
                </a:lnTo>
                <a:lnTo>
                  <a:pt x="443681" y="4134520"/>
                </a:lnTo>
                <a:lnTo>
                  <a:pt x="443681" y="4129604"/>
                </a:lnTo>
                <a:lnTo>
                  <a:pt x="444910" y="4129604"/>
                </a:lnTo>
                <a:lnTo>
                  <a:pt x="415413" y="3991952"/>
                </a:lnTo>
                <a:close/>
                <a:moveTo>
                  <a:pt x="532171" y="3991952"/>
                </a:moveTo>
                <a:lnTo>
                  <a:pt x="479323" y="4011616"/>
                </a:lnTo>
                <a:lnTo>
                  <a:pt x="480552" y="4015303"/>
                </a:lnTo>
                <a:lnTo>
                  <a:pt x="479323" y="4015303"/>
                </a:lnTo>
                <a:lnTo>
                  <a:pt x="518652" y="4149268"/>
                </a:lnTo>
                <a:lnTo>
                  <a:pt x="571500" y="4129604"/>
                </a:lnTo>
                <a:lnTo>
                  <a:pt x="570272" y="4125916"/>
                </a:lnTo>
                <a:lnTo>
                  <a:pt x="571500" y="4125916"/>
                </a:lnTo>
                <a:lnTo>
                  <a:pt x="532171" y="3991952"/>
                </a:lnTo>
                <a:close/>
                <a:moveTo>
                  <a:pt x="651388" y="3991952"/>
                </a:moveTo>
                <a:lnTo>
                  <a:pt x="599769" y="4016532"/>
                </a:lnTo>
                <a:lnTo>
                  <a:pt x="600997" y="4020219"/>
                </a:lnTo>
                <a:lnTo>
                  <a:pt x="599769" y="4020219"/>
                </a:lnTo>
                <a:lnTo>
                  <a:pt x="648930" y="4149268"/>
                </a:lnTo>
                <a:lnTo>
                  <a:pt x="699320" y="4124687"/>
                </a:lnTo>
                <a:lnTo>
                  <a:pt x="698091" y="4121000"/>
                </a:lnTo>
                <a:lnTo>
                  <a:pt x="699320" y="4121000"/>
                </a:lnTo>
                <a:lnTo>
                  <a:pt x="651388" y="3991952"/>
                </a:lnTo>
                <a:close/>
                <a:moveTo>
                  <a:pt x="769375" y="3991952"/>
                </a:moveTo>
                <a:lnTo>
                  <a:pt x="720214" y="4021449"/>
                </a:lnTo>
                <a:lnTo>
                  <a:pt x="722672" y="4023907"/>
                </a:lnTo>
                <a:lnTo>
                  <a:pt x="721442" y="4025135"/>
                </a:lnTo>
                <a:lnTo>
                  <a:pt x="779207" y="4149268"/>
                </a:lnTo>
                <a:lnTo>
                  <a:pt x="828369" y="4119771"/>
                </a:lnTo>
                <a:lnTo>
                  <a:pt x="827139" y="4116084"/>
                </a:lnTo>
                <a:lnTo>
                  <a:pt x="828369" y="4114855"/>
                </a:lnTo>
                <a:lnTo>
                  <a:pt x="769375" y="3991952"/>
                </a:lnTo>
                <a:close/>
                <a:moveTo>
                  <a:pt x="1005350" y="3991952"/>
                </a:moveTo>
                <a:lnTo>
                  <a:pt x="959875" y="4031281"/>
                </a:lnTo>
                <a:lnTo>
                  <a:pt x="962333" y="4033739"/>
                </a:lnTo>
                <a:lnTo>
                  <a:pt x="959875" y="4034967"/>
                </a:lnTo>
                <a:lnTo>
                  <a:pt x="1037304" y="4148039"/>
                </a:lnTo>
                <a:lnTo>
                  <a:pt x="1082778" y="4108709"/>
                </a:lnTo>
                <a:lnTo>
                  <a:pt x="1081550" y="4106251"/>
                </a:lnTo>
                <a:lnTo>
                  <a:pt x="1082778" y="4105023"/>
                </a:lnTo>
                <a:lnTo>
                  <a:pt x="1005350" y="3991952"/>
                </a:lnTo>
                <a:close/>
                <a:moveTo>
                  <a:pt x="1123337" y="3991952"/>
                </a:moveTo>
                <a:lnTo>
                  <a:pt x="1080320" y="4036197"/>
                </a:lnTo>
                <a:lnTo>
                  <a:pt x="1081550" y="4041113"/>
                </a:lnTo>
                <a:lnTo>
                  <a:pt x="1080320" y="4042342"/>
                </a:lnTo>
                <a:lnTo>
                  <a:pt x="1167582" y="4150497"/>
                </a:lnTo>
                <a:lnTo>
                  <a:pt x="1210598" y="4106251"/>
                </a:lnTo>
                <a:lnTo>
                  <a:pt x="1209369" y="4103793"/>
                </a:lnTo>
                <a:lnTo>
                  <a:pt x="1210598" y="4101335"/>
                </a:lnTo>
                <a:lnTo>
                  <a:pt x="1123337" y="3991952"/>
                </a:lnTo>
                <a:close/>
                <a:moveTo>
                  <a:pt x="887362" y="3993180"/>
                </a:moveTo>
                <a:lnTo>
                  <a:pt x="840659" y="4027593"/>
                </a:lnTo>
                <a:lnTo>
                  <a:pt x="841887" y="4030051"/>
                </a:lnTo>
                <a:lnTo>
                  <a:pt x="840659" y="4031281"/>
                </a:lnTo>
                <a:lnTo>
                  <a:pt x="908255" y="4149268"/>
                </a:lnTo>
                <a:lnTo>
                  <a:pt x="954959" y="4114855"/>
                </a:lnTo>
                <a:lnTo>
                  <a:pt x="953730" y="4112397"/>
                </a:lnTo>
                <a:lnTo>
                  <a:pt x="954959" y="4111167"/>
                </a:lnTo>
                <a:lnTo>
                  <a:pt x="887362" y="3993180"/>
                </a:lnTo>
                <a:close/>
                <a:moveTo>
                  <a:pt x="415413" y="4189826"/>
                </a:moveTo>
                <a:lnTo>
                  <a:pt x="360106" y="4205804"/>
                </a:lnTo>
                <a:lnTo>
                  <a:pt x="389603" y="4343456"/>
                </a:lnTo>
                <a:lnTo>
                  <a:pt x="444910" y="4328707"/>
                </a:lnTo>
                <a:lnTo>
                  <a:pt x="415413" y="4189826"/>
                </a:lnTo>
                <a:close/>
                <a:moveTo>
                  <a:pt x="532171" y="4189826"/>
                </a:moveTo>
                <a:lnTo>
                  <a:pt x="479323" y="4209490"/>
                </a:lnTo>
                <a:lnTo>
                  <a:pt x="518652" y="4343456"/>
                </a:lnTo>
                <a:lnTo>
                  <a:pt x="571500" y="4323791"/>
                </a:lnTo>
                <a:lnTo>
                  <a:pt x="532171" y="4189826"/>
                </a:lnTo>
                <a:close/>
                <a:moveTo>
                  <a:pt x="651388" y="4189826"/>
                </a:moveTo>
                <a:lnTo>
                  <a:pt x="599769" y="4214406"/>
                </a:lnTo>
                <a:lnTo>
                  <a:pt x="648930" y="4343456"/>
                </a:lnTo>
                <a:lnTo>
                  <a:pt x="699320" y="4317645"/>
                </a:lnTo>
                <a:lnTo>
                  <a:pt x="651388" y="4189826"/>
                </a:lnTo>
                <a:close/>
                <a:moveTo>
                  <a:pt x="769375" y="4189826"/>
                </a:moveTo>
                <a:lnTo>
                  <a:pt x="720214" y="4220552"/>
                </a:lnTo>
                <a:lnTo>
                  <a:pt x="777978" y="4343456"/>
                </a:lnTo>
                <a:lnTo>
                  <a:pt x="827139" y="4313959"/>
                </a:lnTo>
                <a:lnTo>
                  <a:pt x="769375" y="4189826"/>
                </a:lnTo>
                <a:close/>
                <a:moveTo>
                  <a:pt x="887362" y="4189826"/>
                </a:moveTo>
                <a:lnTo>
                  <a:pt x="840659" y="4225468"/>
                </a:lnTo>
                <a:lnTo>
                  <a:pt x="908255" y="4343456"/>
                </a:lnTo>
                <a:lnTo>
                  <a:pt x="954959" y="4309043"/>
                </a:lnTo>
                <a:lnTo>
                  <a:pt x="887362" y="4189826"/>
                </a:lnTo>
                <a:close/>
                <a:moveTo>
                  <a:pt x="1005350" y="4189826"/>
                </a:moveTo>
                <a:lnTo>
                  <a:pt x="959875" y="4230384"/>
                </a:lnTo>
                <a:lnTo>
                  <a:pt x="1037304" y="4343456"/>
                </a:lnTo>
                <a:lnTo>
                  <a:pt x="1082778" y="4304126"/>
                </a:lnTo>
                <a:lnTo>
                  <a:pt x="1005350" y="4189826"/>
                </a:lnTo>
                <a:close/>
                <a:moveTo>
                  <a:pt x="1123337" y="4189826"/>
                </a:moveTo>
                <a:lnTo>
                  <a:pt x="1080320" y="4235301"/>
                </a:lnTo>
                <a:lnTo>
                  <a:pt x="1167582" y="4343456"/>
                </a:lnTo>
                <a:lnTo>
                  <a:pt x="1210598" y="4299210"/>
                </a:lnTo>
                <a:lnTo>
                  <a:pt x="1123337" y="4189826"/>
                </a:lnTo>
                <a:close/>
                <a:moveTo>
                  <a:pt x="1241324" y="4191055"/>
                </a:moveTo>
                <a:lnTo>
                  <a:pt x="1199537" y="4240217"/>
                </a:lnTo>
                <a:lnTo>
                  <a:pt x="1297860" y="4343456"/>
                </a:lnTo>
                <a:lnTo>
                  <a:pt x="1338417" y="4294294"/>
                </a:lnTo>
                <a:lnTo>
                  <a:pt x="1241324" y="4191055"/>
                </a:lnTo>
                <a:close/>
                <a:moveTo>
                  <a:pt x="1359311" y="4191055"/>
                </a:moveTo>
                <a:lnTo>
                  <a:pt x="1319982" y="4245133"/>
                </a:lnTo>
                <a:lnTo>
                  <a:pt x="1426908" y="4343456"/>
                </a:lnTo>
                <a:lnTo>
                  <a:pt x="1466237" y="4289378"/>
                </a:lnTo>
                <a:lnTo>
                  <a:pt x="1359311" y="4191055"/>
                </a:lnTo>
                <a:close/>
                <a:moveTo>
                  <a:pt x="1477299" y="4191055"/>
                </a:moveTo>
                <a:lnTo>
                  <a:pt x="1440428" y="4250049"/>
                </a:lnTo>
                <a:lnTo>
                  <a:pt x="1557185" y="4343456"/>
                </a:lnTo>
                <a:lnTo>
                  <a:pt x="1594056" y="4284462"/>
                </a:lnTo>
                <a:lnTo>
                  <a:pt x="1477299" y="4191055"/>
                </a:lnTo>
                <a:close/>
                <a:moveTo>
                  <a:pt x="178209" y="4191055"/>
                </a:moveTo>
                <a:lnTo>
                  <a:pt x="119216" y="4195972"/>
                </a:lnTo>
                <a:lnTo>
                  <a:pt x="129048" y="4343456"/>
                </a:lnTo>
                <a:lnTo>
                  <a:pt x="188042" y="4339768"/>
                </a:lnTo>
                <a:lnTo>
                  <a:pt x="178209" y="4191055"/>
                </a:lnTo>
                <a:close/>
                <a:moveTo>
                  <a:pt x="296197" y="4191055"/>
                </a:moveTo>
                <a:lnTo>
                  <a:pt x="240891" y="4200888"/>
                </a:lnTo>
                <a:lnTo>
                  <a:pt x="259326" y="4343456"/>
                </a:lnTo>
                <a:lnTo>
                  <a:pt x="315861" y="4334852"/>
                </a:lnTo>
                <a:lnTo>
                  <a:pt x="296197" y="4191055"/>
                </a:lnTo>
                <a:close/>
                <a:moveTo>
                  <a:pt x="651388" y="4384013"/>
                </a:moveTo>
                <a:lnTo>
                  <a:pt x="599769" y="4408594"/>
                </a:lnTo>
                <a:lnTo>
                  <a:pt x="648930" y="4537643"/>
                </a:lnTo>
                <a:lnTo>
                  <a:pt x="699320" y="4511832"/>
                </a:lnTo>
                <a:lnTo>
                  <a:pt x="651388" y="4384013"/>
                </a:lnTo>
                <a:close/>
                <a:moveTo>
                  <a:pt x="887362" y="4384013"/>
                </a:moveTo>
                <a:lnTo>
                  <a:pt x="840659" y="4419656"/>
                </a:lnTo>
                <a:lnTo>
                  <a:pt x="908255" y="4538871"/>
                </a:lnTo>
                <a:lnTo>
                  <a:pt x="954959" y="4503230"/>
                </a:lnTo>
                <a:lnTo>
                  <a:pt x="887362" y="4384013"/>
                </a:lnTo>
                <a:close/>
                <a:moveTo>
                  <a:pt x="1123337" y="4384013"/>
                </a:moveTo>
                <a:lnTo>
                  <a:pt x="1080320" y="4428258"/>
                </a:lnTo>
                <a:lnTo>
                  <a:pt x="1167582" y="4537643"/>
                </a:lnTo>
                <a:lnTo>
                  <a:pt x="1210598" y="4493398"/>
                </a:lnTo>
                <a:lnTo>
                  <a:pt x="1123337" y="4384013"/>
                </a:lnTo>
                <a:close/>
                <a:moveTo>
                  <a:pt x="1240094" y="4384013"/>
                </a:moveTo>
                <a:lnTo>
                  <a:pt x="1199537" y="4433174"/>
                </a:lnTo>
                <a:lnTo>
                  <a:pt x="1296630" y="4537643"/>
                </a:lnTo>
                <a:lnTo>
                  <a:pt x="1338417" y="4488482"/>
                </a:lnTo>
                <a:lnTo>
                  <a:pt x="1240094" y="4384013"/>
                </a:lnTo>
                <a:close/>
                <a:moveTo>
                  <a:pt x="1359311" y="4385243"/>
                </a:moveTo>
                <a:lnTo>
                  <a:pt x="1319982" y="4439320"/>
                </a:lnTo>
                <a:lnTo>
                  <a:pt x="1426908" y="4537643"/>
                </a:lnTo>
                <a:lnTo>
                  <a:pt x="1466237" y="4483565"/>
                </a:lnTo>
                <a:lnTo>
                  <a:pt x="1359311" y="4385243"/>
                </a:lnTo>
                <a:close/>
                <a:moveTo>
                  <a:pt x="1005350" y="4385243"/>
                </a:moveTo>
                <a:lnTo>
                  <a:pt x="959875" y="4423342"/>
                </a:lnTo>
                <a:lnTo>
                  <a:pt x="1037304" y="4537643"/>
                </a:lnTo>
                <a:lnTo>
                  <a:pt x="1082778" y="4498314"/>
                </a:lnTo>
                <a:lnTo>
                  <a:pt x="1005350" y="4385243"/>
                </a:lnTo>
                <a:close/>
                <a:moveTo>
                  <a:pt x="769375" y="4385243"/>
                </a:moveTo>
                <a:lnTo>
                  <a:pt x="720214" y="4413510"/>
                </a:lnTo>
                <a:lnTo>
                  <a:pt x="777978" y="4537643"/>
                </a:lnTo>
                <a:lnTo>
                  <a:pt x="827139" y="4508146"/>
                </a:lnTo>
                <a:lnTo>
                  <a:pt x="769375" y="4385243"/>
                </a:lnTo>
                <a:close/>
                <a:moveTo>
                  <a:pt x="178209" y="4385243"/>
                </a:moveTo>
                <a:lnTo>
                  <a:pt x="119216" y="4390159"/>
                </a:lnTo>
                <a:lnTo>
                  <a:pt x="129048" y="4538871"/>
                </a:lnTo>
                <a:lnTo>
                  <a:pt x="188042" y="4533955"/>
                </a:lnTo>
                <a:lnTo>
                  <a:pt x="178209" y="4385243"/>
                </a:lnTo>
                <a:close/>
                <a:moveTo>
                  <a:pt x="296197" y="4385243"/>
                </a:moveTo>
                <a:lnTo>
                  <a:pt x="239661" y="4395075"/>
                </a:lnTo>
                <a:lnTo>
                  <a:pt x="259326" y="4538871"/>
                </a:lnTo>
                <a:lnTo>
                  <a:pt x="315861" y="4529039"/>
                </a:lnTo>
                <a:lnTo>
                  <a:pt x="296197" y="4385243"/>
                </a:lnTo>
                <a:close/>
                <a:moveTo>
                  <a:pt x="415413" y="4385243"/>
                </a:moveTo>
                <a:lnTo>
                  <a:pt x="360106" y="4399991"/>
                </a:lnTo>
                <a:lnTo>
                  <a:pt x="389603" y="4538871"/>
                </a:lnTo>
                <a:lnTo>
                  <a:pt x="444910" y="4524123"/>
                </a:lnTo>
                <a:lnTo>
                  <a:pt x="415413" y="4385243"/>
                </a:lnTo>
                <a:close/>
                <a:moveTo>
                  <a:pt x="532171" y="4385243"/>
                </a:moveTo>
                <a:lnTo>
                  <a:pt x="479323" y="4404907"/>
                </a:lnTo>
                <a:lnTo>
                  <a:pt x="518652" y="4538871"/>
                </a:lnTo>
                <a:lnTo>
                  <a:pt x="571500" y="4519207"/>
                </a:lnTo>
                <a:lnTo>
                  <a:pt x="532171" y="4385243"/>
                </a:lnTo>
                <a:close/>
                <a:moveTo>
                  <a:pt x="651388" y="4578200"/>
                </a:moveTo>
                <a:lnTo>
                  <a:pt x="599769" y="4602781"/>
                </a:lnTo>
                <a:lnTo>
                  <a:pt x="648930" y="4731830"/>
                </a:lnTo>
                <a:lnTo>
                  <a:pt x="699320" y="4706020"/>
                </a:lnTo>
                <a:lnTo>
                  <a:pt x="651388" y="4578200"/>
                </a:lnTo>
                <a:close/>
                <a:moveTo>
                  <a:pt x="769375" y="4579430"/>
                </a:moveTo>
                <a:lnTo>
                  <a:pt x="720214" y="4607697"/>
                </a:lnTo>
                <a:lnTo>
                  <a:pt x="777978" y="4731830"/>
                </a:lnTo>
                <a:lnTo>
                  <a:pt x="827139" y="4702333"/>
                </a:lnTo>
                <a:lnTo>
                  <a:pt x="769375" y="4579430"/>
                </a:lnTo>
                <a:close/>
                <a:moveTo>
                  <a:pt x="887362" y="4579430"/>
                </a:moveTo>
                <a:lnTo>
                  <a:pt x="840659" y="4613843"/>
                </a:lnTo>
                <a:lnTo>
                  <a:pt x="908255" y="4733059"/>
                </a:lnTo>
                <a:lnTo>
                  <a:pt x="954959" y="4697417"/>
                </a:lnTo>
                <a:lnTo>
                  <a:pt x="887362" y="4579430"/>
                </a:lnTo>
                <a:close/>
                <a:moveTo>
                  <a:pt x="1005350" y="4579430"/>
                </a:moveTo>
                <a:lnTo>
                  <a:pt x="959875" y="4618759"/>
                </a:lnTo>
                <a:lnTo>
                  <a:pt x="1037304" y="4731830"/>
                </a:lnTo>
                <a:lnTo>
                  <a:pt x="1082778" y="4692501"/>
                </a:lnTo>
                <a:lnTo>
                  <a:pt x="1005350" y="4579430"/>
                </a:lnTo>
                <a:close/>
                <a:moveTo>
                  <a:pt x="1123337" y="4579430"/>
                </a:moveTo>
                <a:lnTo>
                  <a:pt x="1080320" y="4623675"/>
                </a:lnTo>
                <a:lnTo>
                  <a:pt x="1167582" y="4733059"/>
                </a:lnTo>
                <a:lnTo>
                  <a:pt x="1210598" y="4688813"/>
                </a:lnTo>
                <a:lnTo>
                  <a:pt x="1123337" y="4579430"/>
                </a:lnTo>
                <a:close/>
                <a:moveTo>
                  <a:pt x="1240094" y="4579430"/>
                </a:moveTo>
                <a:lnTo>
                  <a:pt x="1199537" y="4628591"/>
                </a:lnTo>
                <a:lnTo>
                  <a:pt x="1296630" y="4733059"/>
                </a:lnTo>
                <a:lnTo>
                  <a:pt x="1338417" y="4683897"/>
                </a:lnTo>
                <a:lnTo>
                  <a:pt x="1240094" y="4579430"/>
                </a:lnTo>
                <a:close/>
                <a:moveTo>
                  <a:pt x="1359311" y="4579430"/>
                </a:moveTo>
                <a:lnTo>
                  <a:pt x="1319982" y="4633507"/>
                </a:lnTo>
                <a:lnTo>
                  <a:pt x="1426908" y="4731830"/>
                </a:lnTo>
                <a:lnTo>
                  <a:pt x="1466237" y="4677753"/>
                </a:lnTo>
                <a:lnTo>
                  <a:pt x="1359311" y="4579430"/>
                </a:lnTo>
                <a:close/>
                <a:moveTo>
                  <a:pt x="178209" y="4579430"/>
                </a:moveTo>
                <a:lnTo>
                  <a:pt x="119216" y="4584346"/>
                </a:lnTo>
                <a:lnTo>
                  <a:pt x="129048" y="4733059"/>
                </a:lnTo>
                <a:lnTo>
                  <a:pt x="188042" y="4728142"/>
                </a:lnTo>
                <a:lnTo>
                  <a:pt x="178209" y="4579430"/>
                </a:lnTo>
                <a:close/>
                <a:moveTo>
                  <a:pt x="296197" y="4579430"/>
                </a:moveTo>
                <a:lnTo>
                  <a:pt x="239661" y="4589262"/>
                </a:lnTo>
                <a:lnTo>
                  <a:pt x="259326" y="4733059"/>
                </a:lnTo>
                <a:lnTo>
                  <a:pt x="315861" y="4723226"/>
                </a:lnTo>
                <a:lnTo>
                  <a:pt x="296197" y="4579430"/>
                </a:lnTo>
                <a:close/>
                <a:moveTo>
                  <a:pt x="415413" y="4579430"/>
                </a:moveTo>
                <a:lnTo>
                  <a:pt x="360106" y="4594178"/>
                </a:lnTo>
                <a:lnTo>
                  <a:pt x="389603" y="4733059"/>
                </a:lnTo>
                <a:lnTo>
                  <a:pt x="444910" y="4718310"/>
                </a:lnTo>
                <a:lnTo>
                  <a:pt x="415413" y="4579430"/>
                </a:lnTo>
                <a:close/>
                <a:moveTo>
                  <a:pt x="532171" y="4580658"/>
                </a:moveTo>
                <a:lnTo>
                  <a:pt x="479323" y="4600323"/>
                </a:lnTo>
                <a:lnTo>
                  <a:pt x="518652" y="4733059"/>
                </a:lnTo>
                <a:lnTo>
                  <a:pt x="571500" y="4714624"/>
                </a:lnTo>
                <a:lnTo>
                  <a:pt x="532171" y="4580658"/>
                </a:lnTo>
                <a:close/>
                <a:moveTo>
                  <a:pt x="415413" y="4772388"/>
                </a:moveTo>
                <a:lnTo>
                  <a:pt x="360106" y="4788366"/>
                </a:lnTo>
                <a:lnTo>
                  <a:pt x="389603" y="4927246"/>
                </a:lnTo>
                <a:lnTo>
                  <a:pt x="444910" y="4911269"/>
                </a:lnTo>
                <a:lnTo>
                  <a:pt x="415413" y="4772388"/>
                </a:lnTo>
                <a:close/>
                <a:moveTo>
                  <a:pt x="532171" y="4773617"/>
                </a:moveTo>
                <a:lnTo>
                  <a:pt x="479323" y="4794510"/>
                </a:lnTo>
                <a:lnTo>
                  <a:pt x="518652" y="4927246"/>
                </a:lnTo>
                <a:lnTo>
                  <a:pt x="571500" y="4907581"/>
                </a:lnTo>
                <a:lnTo>
                  <a:pt x="532171" y="4773617"/>
                </a:lnTo>
                <a:close/>
                <a:moveTo>
                  <a:pt x="651388" y="4773617"/>
                </a:moveTo>
                <a:lnTo>
                  <a:pt x="599769" y="4798198"/>
                </a:lnTo>
                <a:lnTo>
                  <a:pt x="648930" y="4927246"/>
                </a:lnTo>
                <a:lnTo>
                  <a:pt x="699320" y="4902665"/>
                </a:lnTo>
                <a:lnTo>
                  <a:pt x="651388" y="4773617"/>
                </a:lnTo>
                <a:close/>
                <a:moveTo>
                  <a:pt x="769375" y="4773617"/>
                </a:moveTo>
                <a:lnTo>
                  <a:pt x="721442" y="4803114"/>
                </a:lnTo>
                <a:lnTo>
                  <a:pt x="779207" y="4927246"/>
                </a:lnTo>
                <a:lnTo>
                  <a:pt x="828369" y="4897749"/>
                </a:lnTo>
                <a:lnTo>
                  <a:pt x="769375" y="4773617"/>
                </a:lnTo>
                <a:close/>
                <a:moveTo>
                  <a:pt x="887362" y="4773617"/>
                </a:moveTo>
                <a:lnTo>
                  <a:pt x="840659" y="4808030"/>
                </a:lnTo>
                <a:lnTo>
                  <a:pt x="908255" y="4927246"/>
                </a:lnTo>
                <a:lnTo>
                  <a:pt x="954959" y="4892833"/>
                </a:lnTo>
                <a:lnTo>
                  <a:pt x="887362" y="4773617"/>
                </a:lnTo>
                <a:close/>
                <a:moveTo>
                  <a:pt x="1005350" y="4773617"/>
                </a:moveTo>
                <a:lnTo>
                  <a:pt x="959875" y="4812946"/>
                </a:lnTo>
                <a:lnTo>
                  <a:pt x="1037304" y="4926017"/>
                </a:lnTo>
                <a:lnTo>
                  <a:pt x="1082778" y="4886688"/>
                </a:lnTo>
                <a:lnTo>
                  <a:pt x="1005350" y="4773617"/>
                </a:lnTo>
                <a:close/>
                <a:moveTo>
                  <a:pt x="1123337" y="4773617"/>
                </a:moveTo>
                <a:lnTo>
                  <a:pt x="1080320" y="4817863"/>
                </a:lnTo>
                <a:lnTo>
                  <a:pt x="1167582" y="4927246"/>
                </a:lnTo>
                <a:lnTo>
                  <a:pt x="1210598" y="4883001"/>
                </a:lnTo>
                <a:lnTo>
                  <a:pt x="1123337" y="4773617"/>
                </a:lnTo>
                <a:close/>
                <a:moveTo>
                  <a:pt x="1240094" y="4773617"/>
                </a:moveTo>
                <a:lnTo>
                  <a:pt x="1199537" y="4822779"/>
                </a:lnTo>
                <a:lnTo>
                  <a:pt x="1296630" y="4927246"/>
                </a:lnTo>
                <a:lnTo>
                  <a:pt x="1338417" y="4878085"/>
                </a:lnTo>
                <a:lnTo>
                  <a:pt x="1240094" y="4773617"/>
                </a:lnTo>
                <a:close/>
                <a:moveTo>
                  <a:pt x="1359311" y="4773617"/>
                </a:moveTo>
                <a:lnTo>
                  <a:pt x="1319982" y="4827695"/>
                </a:lnTo>
                <a:lnTo>
                  <a:pt x="1426908" y="4926017"/>
                </a:lnTo>
                <a:lnTo>
                  <a:pt x="1466237" y="4873168"/>
                </a:lnTo>
                <a:lnTo>
                  <a:pt x="1359311" y="4773617"/>
                </a:lnTo>
                <a:close/>
                <a:moveTo>
                  <a:pt x="178209" y="4773617"/>
                </a:moveTo>
                <a:lnTo>
                  <a:pt x="119216" y="4778533"/>
                </a:lnTo>
                <a:lnTo>
                  <a:pt x="129048" y="4927246"/>
                </a:lnTo>
                <a:lnTo>
                  <a:pt x="188042" y="4922330"/>
                </a:lnTo>
                <a:lnTo>
                  <a:pt x="178209" y="4773617"/>
                </a:lnTo>
                <a:close/>
                <a:moveTo>
                  <a:pt x="296197" y="4773617"/>
                </a:moveTo>
                <a:lnTo>
                  <a:pt x="239661" y="4783450"/>
                </a:lnTo>
                <a:lnTo>
                  <a:pt x="259326" y="4927246"/>
                </a:lnTo>
                <a:lnTo>
                  <a:pt x="315861" y="4917414"/>
                </a:lnTo>
                <a:lnTo>
                  <a:pt x="296197" y="4773617"/>
                </a:lnTo>
                <a:close/>
                <a:moveTo>
                  <a:pt x="178209" y="4967805"/>
                </a:moveTo>
                <a:lnTo>
                  <a:pt x="119216" y="4972721"/>
                </a:lnTo>
                <a:lnTo>
                  <a:pt x="129048" y="5121433"/>
                </a:lnTo>
                <a:lnTo>
                  <a:pt x="188042" y="5116517"/>
                </a:lnTo>
                <a:lnTo>
                  <a:pt x="178209" y="4967805"/>
                </a:lnTo>
                <a:close/>
                <a:moveTo>
                  <a:pt x="296197" y="4967805"/>
                </a:moveTo>
                <a:lnTo>
                  <a:pt x="239661" y="4977637"/>
                </a:lnTo>
                <a:lnTo>
                  <a:pt x="259326" y="5121433"/>
                </a:lnTo>
                <a:lnTo>
                  <a:pt x="315861" y="5111601"/>
                </a:lnTo>
                <a:lnTo>
                  <a:pt x="296197" y="4967805"/>
                </a:lnTo>
                <a:close/>
                <a:moveTo>
                  <a:pt x="651388" y="4967805"/>
                </a:moveTo>
                <a:lnTo>
                  <a:pt x="599769" y="4992385"/>
                </a:lnTo>
                <a:lnTo>
                  <a:pt x="648930" y="5121433"/>
                </a:lnTo>
                <a:lnTo>
                  <a:pt x="699320" y="5095624"/>
                </a:lnTo>
                <a:lnTo>
                  <a:pt x="651388" y="4967805"/>
                </a:lnTo>
                <a:close/>
                <a:moveTo>
                  <a:pt x="769375" y="4967805"/>
                </a:moveTo>
                <a:lnTo>
                  <a:pt x="720214" y="4998530"/>
                </a:lnTo>
                <a:lnTo>
                  <a:pt x="777978" y="5121433"/>
                </a:lnTo>
                <a:lnTo>
                  <a:pt x="827139" y="5091936"/>
                </a:lnTo>
                <a:lnTo>
                  <a:pt x="769375" y="4967805"/>
                </a:lnTo>
                <a:close/>
                <a:moveTo>
                  <a:pt x="887362" y="4967805"/>
                </a:moveTo>
                <a:lnTo>
                  <a:pt x="840659" y="5002218"/>
                </a:lnTo>
                <a:lnTo>
                  <a:pt x="908255" y="5121433"/>
                </a:lnTo>
                <a:lnTo>
                  <a:pt x="954959" y="5087020"/>
                </a:lnTo>
                <a:lnTo>
                  <a:pt x="887362" y="4967805"/>
                </a:lnTo>
                <a:close/>
                <a:moveTo>
                  <a:pt x="1005350" y="4967805"/>
                </a:moveTo>
                <a:lnTo>
                  <a:pt x="959875" y="5007134"/>
                </a:lnTo>
                <a:lnTo>
                  <a:pt x="1037304" y="5120205"/>
                </a:lnTo>
                <a:lnTo>
                  <a:pt x="1082778" y="5080876"/>
                </a:lnTo>
                <a:lnTo>
                  <a:pt x="1005350" y="4967805"/>
                </a:lnTo>
                <a:close/>
                <a:moveTo>
                  <a:pt x="1123337" y="4969033"/>
                </a:moveTo>
                <a:lnTo>
                  <a:pt x="1080320" y="5013278"/>
                </a:lnTo>
                <a:lnTo>
                  <a:pt x="1167582" y="5121433"/>
                </a:lnTo>
                <a:lnTo>
                  <a:pt x="1210598" y="5077188"/>
                </a:lnTo>
                <a:lnTo>
                  <a:pt x="1123337" y="4969033"/>
                </a:lnTo>
                <a:close/>
                <a:moveTo>
                  <a:pt x="1241324" y="4969033"/>
                </a:moveTo>
                <a:lnTo>
                  <a:pt x="1200765" y="5018194"/>
                </a:lnTo>
                <a:lnTo>
                  <a:pt x="1297860" y="5121433"/>
                </a:lnTo>
                <a:lnTo>
                  <a:pt x="1338417" y="5072272"/>
                </a:lnTo>
                <a:lnTo>
                  <a:pt x="1241324" y="4969033"/>
                </a:lnTo>
                <a:close/>
                <a:moveTo>
                  <a:pt x="1359311" y="4969033"/>
                </a:moveTo>
                <a:lnTo>
                  <a:pt x="1319982" y="5023110"/>
                </a:lnTo>
                <a:lnTo>
                  <a:pt x="1426908" y="5121433"/>
                </a:lnTo>
                <a:lnTo>
                  <a:pt x="1466237" y="5067356"/>
                </a:lnTo>
                <a:lnTo>
                  <a:pt x="1359311" y="4969033"/>
                </a:lnTo>
                <a:close/>
                <a:moveTo>
                  <a:pt x="415413" y="4969033"/>
                </a:moveTo>
                <a:lnTo>
                  <a:pt x="360106" y="4983781"/>
                </a:lnTo>
                <a:lnTo>
                  <a:pt x="389603" y="5122663"/>
                </a:lnTo>
                <a:lnTo>
                  <a:pt x="444910" y="5107914"/>
                </a:lnTo>
                <a:lnTo>
                  <a:pt x="415413" y="4969033"/>
                </a:lnTo>
                <a:close/>
                <a:moveTo>
                  <a:pt x="532171" y="4969033"/>
                </a:moveTo>
                <a:lnTo>
                  <a:pt x="479323" y="4988698"/>
                </a:lnTo>
                <a:lnTo>
                  <a:pt x="518652" y="5122663"/>
                </a:lnTo>
                <a:lnTo>
                  <a:pt x="571500" y="5102998"/>
                </a:lnTo>
                <a:lnTo>
                  <a:pt x="532171" y="4969033"/>
                </a:lnTo>
                <a:close/>
                <a:moveTo>
                  <a:pt x="178209" y="5161992"/>
                </a:moveTo>
                <a:lnTo>
                  <a:pt x="119216" y="5166908"/>
                </a:lnTo>
                <a:lnTo>
                  <a:pt x="129048" y="5315620"/>
                </a:lnTo>
                <a:lnTo>
                  <a:pt x="188042" y="5310704"/>
                </a:lnTo>
                <a:lnTo>
                  <a:pt x="178209" y="5161992"/>
                </a:lnTo>
                <a:close/>
                <a:moveTo>
                  <a:pt x="296197" y="5161992"/>
                </a:moveTo>
                <a:lnTo>
                  <a:pt x="239661" y="5171824"/>
                </a:lnTo>
                <a:lnTo>
                  <a:pt x="259326" y="5315620"/>
                </a:lnTo>
                <a:lnTo>
                  <a:pt x="315861" y="5305788"/>
                </a:lnTo>
                <a:lnTo>
                  <a:pt x="296197" y="5161992"/>
                </a:lnTo>
                <a:close/>
                <a:moveTo>
                  <a:pt x="651388" y="5161992"/>
                </a:moveTo>
                <a:lnTo>
                  <a:pt x="599769" y="5186573"/>
                </a:lnTo>
                <a:lnTo>
                  <a:pt x="648930" y="5315620"/>
                </a:lnTo>
                <a:lnTo>
                  <a:pt x="699320" y="5291040"/>
                </a:lnTo>
                <a:lnTo>
                  <a:pt x="651388" y="5161992"/>
                </a:lnTo>
                <a:close/>
                <a:moveTo>
                  <a:pt x="769375" y="5161992"/>
                </a:moveTo>
                <a:lnTo>
                  <a:pt x="720214" y="5192717"/>
                </a:lnTo>
                <a:lnTo>
                  <a:pt x="777978" y="5315620"/>
                </a:lnTo>
                <a:lnTo>
                  <a:pt x="827139" y="5286124"/>
                </a:lnTo>
                <a:lnTo>
                  <a:pt x="769375" y="5161992"/>
                </a:lnTo>
                <a:close/>
                <a:moveTo>
                  <a:pt x="1359311" y="5161992"/>
                </a:moveTo>
                <a:lnTo>
                  <a:pt x="1319982" y="5217298"/>
                </a:lnTo>
                <a:lnTo>
                  <a:pt x="1426908" y="5314392"/>
                </a:lnTo>
                <a:lnTo>
                  <a:pt x="1466237" y="5260315"/>
                </a:lnTo>
                <a:lnTo>
                  <a:pt x="1359311" y="5161992"/>
                </a:lnTo>
                <a:close/>
                <a:moveTo>
                  <a:pt x="1476069" y="5163220"/>
                </a:moveTo>
                <a:lnTo>
                  <a:pt x="1439198" y="5222214"/>
                </a:lnTo>
                <a:lnTo>
                  <a:pt x="1555957" y="5315620"/>
                </a:lnTo>
                <a:lnTo>
                  <a:pt x="1592828" y="5256627"/>
                </a:lnTo>
                <a:lnTo>
                  <a:pt x="1476069" y="5163220"/>
                </a:lnTo>
                <a:close/>
                <a:moveTo>
                  <a:pt x="887362" y="5163220"/>
                </a:moveTo>
                <a:lnTo>
                  <a:pt x="840659" y="5197633"/>
                </a:lnTo>
                <a:lnTo>
                  <a:pt x="908255" y="5315620"/>
                </a:lnTo>
                <a:lnTo>
                  <a:pt x="954959" y="5282437"/>
                </a:lnTo>
                <a:lnTo>
                  <a:pt x="887362" y="5163220"/>
                </a:lnTo>
                <a:close/>
                <a:moveTo>
                  <a:pt x="1005350" y="5163220"/>
                </a:moveTo>
                <a:lnTo>
                  <a:pt x="959875" y="5202549"/>
                </a:lnTo>
                <a:lnTo>
                  <a:pt x="1037304" y="5315620"/>
                </a:lnTo>
                <a:lnTo>
                  <a:pt x="1082778" y="5276291"/>
                </a:lnTo>
                <a:lnTo>
                  <a:pt x="1005350" y="5163220"/>
                </a:lnTo>
                <a:close/>
                <a:moveTo>
                  <a:pt x="1123337" y="5163220"/>
                </a:moveTo>
                <a:lnTo>
                  <a:pt x="1080320" y="5207466"/>
                </a:lnTo>
                <a:lnTo>
                  <a:pt x="1167582" y="5315620"/>
                </a:lnTo>
                <a:lnTo>
                  <a:pt x="1210598" y="5271375"/>
                </a:lnTo>
                <a:lnTo>
                  <a:pt x="1123337" y="5163220"/>
                </a:lnTo>
                <a:close/>
                <a:moveTo>
                  <a:pt x="1242552" y="5163220"/>
                </a:moveTo>
                <a:lnTo>
                  <a:pt x="1200765" y="5212382"/>
                </a:lnTo>
                <a:lnTo>
                  <a:pt x="1297860" y="5315620"/>
                </a:lnTo>
                <a:lnTo>
                  <a:pt x="1338417" y="5266459"/>
                </a:lnTo>
                <a:lnTo>
                  <a:pt x="1242552" y="5163220"/>
                </a:lnTo>
                <a:close/>
                <a:moveTo>
                  <a:pt x="415413" y="5163220"/>
                </a:moveTo>
                <a:lnTo>
                  <a:pt x="360106" y="5177969"/>
                </a:lnTo>
                <a:lnTo>
                  <a:pt x="389603" y="5316850"/>
                </a:lnTo>
                <a:lnTo>
                  <a:pt x="444910" y="5302102"/>
                </a:lnTo>
                <a:lnTo>
                  <a:pt x="415413" y="5163220"/>
                </a:lnTo>
                <a:close/>
                <a:moveTo>
                  <a:pt x="532171" y="5163220"/>
                </a:moveTo>
                <a:lnTo>
                  <a:pt x="479323" y="5182885"/>
                </a:lnTo>
                <a:lnTo>
                  <a:pt x="518652" y="5315620"/>
                </a:lnTo>
                <a:lnTo>
                  <a:pt x="571500" y="5297186"/>
                </a:lnTo>
                <a:lnTo>
                  <a:pt x="532171" y="5163220"/>
                </a:lnTo>
                <a:close/>
                <a:moveTo>
                  <a:pt x="178209" y="5350033"/>
                </a:moveTo>
                <a:lnTo>
                  <a:pt x="119216" y="5354950"/>
                </a:lnTo>
                <a:lnTo>
                  <a:pt x="129048" y="5503663"/>
                </a:lnTo>
                <a:lnTo>
                  <a:pt x="188042" y="5498747"/>
                </a:lnTo>
                <a:lnTo>
                  <a:pt x="178209" y="5350033"/>
                </a:lnTo>
                <a:close/>
                <a:moveTo>
                  <a:pt x="296197" y="5350033"/>
                </a:moveTo>
                <a:lnTo>
                  <a:pt x="239661" y="5359867"/>
                </a:lnTo>
                <a:lnTo>
                  <a:pt x="259326" y="5503663"/>
                </a:lnTo>
                <a:lnTo>
                  <a:pt x="315861" y="5493831"/>
                </a:lnTo>
                <a:lnTo>
                  <a:pt x="296197" y="5350033"/>
                </a:lnTo>
                <a:close/>
                <a:moveTo>
                  <a:pt x="415413" y="5350033"/>
                </a:moveTo>
                <a:lnTo>
                  <a:pt x="360106" y="5364783"/>
                </a:lnTo>
                <a:lnTo>
                  <a:pt x="389603" y="5503663"/>
                </a:lnTo>
                <a:lnTo>
                  <a:pt x="444910" y="5488915"/>
                </a:lnTo>
                <a:lnTo>
                  <a:pt x="415413" y="5350033"/>
                </a:lnTo>
                <a:close/>
                <a:moveTo>
                  <a:pt x="532171" y="5350033"/>
                </a:moveTo>
                <a:lnTo>
                  <a:pt x="479323" y="5369698"/>
                </a:lnTo>
                <a:lnTo>
                  <a:pt x="518652" y="5503663"/>
                </a:lnTo>
                <a:lnTo>
                  <a:pt x="571500" y="5483999"/>
                </a:lnTo>
                <a:lnTo>
                  <a:pt x="532171" y="5350033"/>
                </a:lnTo>
                <a:close/>
                <a:moveTo>
                  <a:pt x="651388" y="5350033"/>
                </a:moveTo>
                <a:lnTo>
                  <a:pt x="599769" y="5374614"/>
                </a:lnTo>
                <a:lnTo>
                  <a:pt x="648930" y="5503663"/>
                </a:lnTo>
                <a:lnTo>
                  <a:pt x="699320" y="5479083"/>
                </a:lnTo>
                <a:lnTo>
                  <a:pt x="651388" y="5350033"/>
                </a:lnTo>
                <a:close/>
                <a:moveTo>
                  <a:pt x="769375" y="5350033"/>
                </a:moveTo>
                <a:lnTo>
                  <a:pt x="720214" y="5378302"/>
                </a:lnTo>
                <a:lnTo>
                  <a:pt x="777978" y="5502434"/>
                </a:lnTo>
                <a:lnTo>
                  <a:pt x="827139" y="5472937"/>
                </a:lnTo>
                <a:lnTo>
                  <a:pt x="769375" y="5350033"/>
                </a:lnTo>
                <a:close/>
                <a:moveTo>
                  <a:pt x="887362" y="5350033"/>
                </a:moveTo>
                <a:lnTo>
                  <a:pt x="840659" y="5384448"/>
                </a:lnTo>
                <a:lnTo>
                  <a:pt x="908255" y="5503663"/>
                </a:lnTo>
                <a:lnTo>
                  <a:pt x="954959" y="5469250"/>
                </a:lnTo>
                <a:lnTo>
                  <a:pt x="887362" y="5350033"/>
                </a:lnTo>
                <a:close/>
                <a:moveTo>
                  <a:pt x="1005350" y="5350033"/>
                </a:moveTo>
                <a:lnTo>
                  <a:pt x="959875" y="5388134"/>
                </a:lnTo>
                <a:lnTo>
                  <a:pt x="1037304" y="5502434"/>
                </a:lnTo>
                <a:lnTo>
                  <a:pt x="1082778" y="5463106"/>
                </a:lnTo>
                <a:lnTo>
                  <a:pt x="1005350" y="5350033"/>
                </a:lnTo>
                <a:close/>
                <a:moveTo>
                  <a:pt x="1123337" y="5350033"/>
                </a:moveTo>
                <a:lnTo>
                  <a:pt x="1080320" y="5394279"/>
                </a:lnTo>
                <a:lnTo>
                  <a:pt x="1167582" y="5503663"/>
                </a:lnTo>
                <a:lnTo>
                  <a:pt x="1210598" y="5459418"/>
                </a:lnTo>
                <a:lnTo>
                  <a:pt x="1123337" y="5350033"/>
                </a:lnTo>
                <a:close/>
                <a:moveTo>
                  <a:pt x="1242552" y="5350033"/>
                </a:moveTo>
                <a:lnTo>
                  <a:pt x="1200765" y="5399195"/>
                </a:lnTo>
                <a:lnTo>
                  <a:pt x="1297860" y="5503663"/>
                </a:lnTo>
                <a:lnTo>
                  <a:pt x="1338417" y="5454502"/>
                </a:lnTo>
                <a:lnTo>
                  <a:pt x="1242552" y="5350033"/>
                </a:lnTo>
                <a:close/>
                <a:moveTo>
                  <a:pt x="1359311" y="5350033"/>
                </a:moveTo>
                <a:lnTo>
                  <a:pt x="1319982" y="5404111"/>
                </a:lnTo>
                <a:lnTo>
                  <a:pt x="1426908" y="5502434"/>
                </a:lnTo>
                <a:lnTo>
                  <a:pt x="1466237" y="5448356"/>
                </a:lnTo>
                <a:lnTo>
                  <a:pt x="1359311" y="5350033"/>
                </a:lnTo>
                <a:close/>
                <a:moveTo>
                  <a:pt x="1476069" y="5350033"/>
                </a:moveTo>
                <a:lnTo>
                  <a:pt x="1439198" y="5409028"/>
                </a:lnTo>
                <a:lnTo>
                  <a:pt x="1555957" y="5503663"/>
                </a:lnTo>
                <a:lnTo>
                  <a:pt x="1592828" y="5444670"/>
                </a:lnTo>
                <a:lnTo>
                  <a:pt x="1476069" y="5350033"/>
                </a:lnTo>
                <a:close/>
                <a:moveTo>
                  <a:pt x="178209" y="5541763"/>
                </a:moveTo>
                <a:lnTo>
                  <a:pt x="119216" y="5546679"/>
                </a:lnTo>
                <a:lnTo>
                  <a:pt x="129048" y="5695392"/>
                </a:lnTo>
                <a:lnTo>
                  <a:pt x="188042" y="5690476"/>
                </a:lnTo>
                <a:lnTo>
                  <a:pt x="178209" y="5541763"/>
                </a:lnTo>
                <a:close/>
                <a:moveTo>
                  <a:pt x="296197" y="5541763"/>
                </a:moveTo>
                <a:lnTo>
                  <a:pt x="239661" y="5551595"/>
                </a:lnTo>
                <a:lnTo>
                  <a:pt x="259326" y="5695392"/>
                </a:lnTo>
                <a:lnTo>
                  <a:pt x="315861" y="5685560"/>
                </a:lnTo>
                <a:lnTo>
                  <a:pt x="296197" y="5541763"/>
                </a:lnTo>
                <a:close/>
                <a:moveTo>
                  <a:pt x="651388" y="5541763"/>
                </a:moveTo>
                <a:lnTo>
                  <a:pt x="599769" y="5567573"/>
                </a:lnTo>
                <a:lnTo>
                  <a:pt x="648930" y="5695392"/>
                </a:lnTo>
                <a:lnTo>
                  <a:pt x="699320" y="5670812"/>
                </a:lnTo>
                <a:lnTo>
                  <a:pt x="651388" y="5541763"/>
                </a:lnTo>
                <a:close/>
                <a:moveTo>
                  <a:pt x="769375" y="5541763"/>
                </a:moveTo>
                <a:lnTo>
                  <a:pt x="720214" y="5572489"/>
                </a:lnTo>
                <a:lnTo>
                  <a:pt x="777978" y="5695392"/>
                </a:lnTo>
                <a:lnTo>
                  <a:pt x="827139" y="5665896"/>
                </a:lnTo>
                <a:lnTo>
                  <a:pt x="769375" y="5541763"/>
                </a:lnTo>
                <a:close/>
                <a:moveTo>
                  <a:pt x="887362" y="5541763"/>
                </a:moveTo>
                <a:lnTo>
                  <a:pt x="840659" y="5576176"/>
                </a:lnTo>
                <a:lnTo>
                  <a:pt x="908255" y="5695392"/>
                </a:lnTo>
                <a:lnTo>
                  <a:pt x="954959" y="5660980"/>
                </a:lnTo>
                <a:lnTo>
                  <a:pt x="887362" y="5541763"/>
                </a:lnTo>
                <a:close/>
                <a:moveTo>
                  <a:pt x="1005350" y="5541763"/>
                </a:moveTo>
                <a:lnTo>
                  <a:pt x="959875" y="5581093"/>
                </a:lnTo>
                <a:lnTo>
                  <a:pt x="1037304" y="5694163"/>
                </a:lnTo>
                <a:lnTo>
                  <a:pt x="1082778" y="5654835"/>
                </a:lnTo>
                <a:lnTo>
                  <a:pt x="1005350" y="5541763"/>
                </a:lnTo>
                <a:close/>
                <a:moveTo>
                  <a:pt x="1123337" y="5541763"/>
                </a:moveTo>
                <a:lnTo>
                  <a:pt x="1080320" y="5587238"/>
                </a:lnTo>
                <a:lnTo>
                  <a:pt x="1167582" y="5695392"/>
                </a:lnTo>
                <a:lnTo>
                  <a:pt x="1210598" y="5651147"/>
                </a:lnTo>
                <a:lnTo>
                  <a:pt x="1123337" y="5541763"/>
                </a:lnTo>
                <a:close/>
                <a:moveTo>
                  <a:pt x="1242552" y="5541763"/>
                </a:moveTo>
                <a:lnTo>
                  <a:pt x="1200765" y="5592154"/>
                </a:lnTo>
                <a:lnTo>
                  <a:pt x="1297860" y="5695392"/>
                </a:lnTo>
                <a:lnTo>
                  <a:pt x="1338417" y="5646231"/>
                </a:lnTo>
                <a:lnTo>
                  <a:pt x="1242552" y="5541763"/>
                </a:lnTo>
                <a:close/>
                <a:moveTo>
                  <a:pt x="1359311" y="5541763"/>
                </a:moveTo>
                <a:lnTo>
                  <a:pt x="1319982" y="5597070"/>
                </a:lnTo>
                <a:lnTo>
                  <a:pt x="1426908" y="5694163"/>
                </a:lnTo>
                <a:lnTo>
                  <a:pt x="1466237" y="5640085"/>
                </a:lnTo>
                <a:lnTo>
                  <a:pt x="1359311" y="5541763"/>
                </a:lnTo>
                <a:close/>
                <a:moveTo>
                  <a:pt x="1476069" y="5542992"/>
                </a:moveTo>
                <a:lnTo>
                  <a:pt x="1439198" y="5601986"/>
                </a:lnTo>
                <a:lnTo>
                  <a:pt x="1555957" y="5695392"/>
                </a:lnTo>
                <a:lnTo>
                  <a:pt x="1592828" y="5636399"/>
                </a:lnTo>
                <a:lnTo>
                  <a:pt x="1476069" y="5542992"/>
                </a:lnTo>
                <a:close/>
                <a:moveTo>
                  <a:pt x="415413" y="5542992"/>
                </a:moveTo>
                <a:lnTo>
                  <a:pt x="360106" y="5557741"/>
                </a:lnTo>
                <a:lnTo>
                  <a:pt x="389603" y="5695392"/>
                </a:lnTo>
                <a:lnTo>
                  <a:pt x="444910" y="5681872"/>
                </a:lnTo>
                <a:lnTo>
                  <a:pt x="415413" y="5542992"/>
                </a:lnTo>
                <a:close/>
                <a:moveTo>
                  <a:pt x="532171" y="5542992"/>
                </a:moveTo>
                <a:lnTo>
                  <a:pt x="479323" y="5562657"/>
                </a:lnTo>
                <a:lnTo>
                  <a:pt x="518652" y="5695392"/>
                </a:lnTo>
                <a:lnTo>
                  <a:pt x="571500" y="5676956"/>
                </a:lnTo>
                <a:lnTo>
                  <a:pt x="532171" y="5542992"/>
                </a:lnTo>
                <a:close/>
                <a:moveTo>
                  <a:pt x="415413" y="5733493"/>
                </a:moveTo>
                <a:lnTo>
                  <a:pt x="360106" y="5748240"/>
                </a:lnTo>
                <a:lnTo>
                  <a:pt x="389603" y="5887122"/>
                </a:lnTo>
                <a:lnTo>
                  <a:pt x="444910" y="5872373"/>
                </a:lnTo>
                <a:lnTo>
                  <a:pt x="415413" y="5733493"/>
                </a:lnTo>
                <a:close/>
                <a:moveTo>
                  <a:pt x="651388" y="5733493"/>
                </a:moveTo>
                <a:lnTo>
                  <a:pt x="599769" y="5758074"/>
                </a:lnTo>
                <a:lnTo>
                  <a:pt x="648930" y="5887122"/>
                </a:lnTo>
                <a:lnTo>
                  <a:pt x="699320" y="5862541"/>
                </a:lnTo>
                <a:lnTo>
                  <a:pt x="651388" y="5733493"/>
                </a:lnTo>
                <a:close/>
                <a:moveTo>
                  <a:pt x="1123337" y="5733493"/>
                </a:moveTo>
                <a:lnTo>
                  <a:pt x="1080320" y="5778967"/>
                </a:lnTo>
                <a:lnTo>
                  <a:pt x="1167582" y="5887122"/>
                </a:lnTo>
                <a:lnTo>
                  <a:pt x="1210598" y="5842877"/>
                </a:lnTo>
                <a:lnTo>
                  <a:pt x="1123337" y="5733493"/>
                </a:lnTo>
                <a:close/>
                <a:moveTo>
                  <a:pt x="1242552" y="5733493"/>
                </a:moveTo>
                <a:lnTo>
                  <a:pt x="1200765" y="5782655"/>
                </a:lnTo>
                <a:lnTo>
                  <a:pt x="1297860" y="5887122"/>
                </a:lnTo>
                <a:lnTo>
                  <a:pt x="1338417" y="5837960"/>
                </a:lnTo>
                <a:lnTo>
                  <a:pt x="1242552" y="5733493"/>
                </a:lnTo>
                <a:close/>
                <a:moveTo>
                  <a:pt x="1359311" y="5734722"/>
                </a:moveTo>
                <a:lnTo>
                  <a:pt x="1319982" y="5788799"/>
                </a:lnTo>
                <a:lnTo>
                  <a:pt x="1426908" y="5887122"/>
                </a:lnTo>
                <a:lnTo>
                  <a:pt x="1466237" y="5833044"/>
                </a:lnTo>
                <a:lnTo>
                  <a:pt x="1359311" y="5734722"/>
                </a:lnTo>
                <a:close/>
                <a:moveTo>
                  <a:pt x="769375" y="5734722"/>
                </a:moveTo>
                <a:lnTo>
                  <a:pt x="720214" y="5764218"/>
                </a:lnTo>
                <a:lnTo>
                  <a:pt x="777978" y="5888351"/>
                </a:lnTo>
                <a:lnTo>
                  <a:pt x="827139" y="5858853"/>
                </a:lnTo>
                <a:lnTo>
                  <a:pt x="769375" y="5734722"/>
                </a:lnTo>
                <a:close/>
                <a:moveTo>
                  <a:pt x="1005350" y="5734722"/>
                </a:moveTo>
                <a:lnTo>
                  <a:pt x="959875" y="5774051"/>
                </a:lnTo>
                <a:lnTo>
                  <a:pt x="1037304" y="5887122"/>
                </a:lnTo>
                <a:lnTo>
                  <a:pt x="1082778" y="5847793"/>
                </a:lnTo>
                <a:lnTo>
                  <a:pt x="1005350" y="5734722"/>
                </a:lnTo>
                <a:close/>
                <a:moveTo>
                  <a:pt x="887362" y="5735950"/>
                </a:moveTo>
                <a:lnTo>
                  <a:pt x="840659" y="5770364"/>
                </a:lnTo>
                <a:lnTo>
                  <a:pt x="908255" y="5888351"/>
                </a:lnTo>
                <a:lnTo>
                  <a:pt x="954959" y="5853937"/>
                </a:lnTo>
                <a:lnTo>
                  <a:pt x="887362" y="5735950"/>
                </a:lnTo>
                <a:close/>
                <a:moveTo>
                  <a:pt x="532171" y="5734722"/>
                </a:moveTo>
                <a:lnTo>
                  <a:pt x="479323" y="5754386"/>
                </a:lnTo>
                <a:lnTo>
                  <a:pt x="518652" y="5887122"/>
                </a:lnTo>
                <a:lnTo>
                  <a:pt x="571500" y="5868687"/>
                </a:lnTo>
                <a:lnTo>
                  <a:pt x="532171" y="5734722"/>
                </a:lnTo>
                <a:close/>
                <a:moveTo>
                  <a:pt x="178209" y="5734722"/>
                </a:moveTo>
                <a:lnTo>
                  <a:pt x="119216" y="5739638"/>
                </a:lnTo>
                <a:lnTo>
                  <a:pt x="129048" y="5888351"/>
                </a:lnTo>
                <a:lnTo>
                  <a:pt x="188042" y="5883434"/>
                </a:lnTo>
                <a:lnTo>
                  <a:pt x="178209" y="5734722"/>
                </a:lnTo>
                <a:close/>
                <a:moveTo>
                  <a:pt x="296197" y="5734722"/>
                </a:moveTo>
                <a:lnTo>
                  <a:pt x="239661" y="5744554"/>
                </a:lnTo>
                <a:lnTo>
                  <a:pt x="259326" y="5888351"/>
                </a:lnTo>
                <a:lnTo>
                  <a:pt x="315861" y="5878518"/>
                </a:lnTo>
                <a:lnTo>
                  <a:pt x="296197" y="5734722"/>
                </a:lnTo>
                <a:close/>
                <a:moveTo>
                  <a:pt x="887362" y="5925222"/>
                </a:moveTo>
                <a:lnTo>
                  <a:pt x="840659" y="5959634"/>
                </a:lnTo>
                <a:lnTo>
                  <a:pt x="908255" y="6078851"/>
                </a:lnTo>
                <a:lnTo>
                  <a:pt x="954959" y="6044438"/>
                </a:lnTo>
                <a:lnTo>
                  <a:pt x="887362" y="5925222"/>
                </a:lnTo>
                <a:close/>
                <a:moveTo>
                  <a:pt x="1359311" y="5925222"/>
                </a:moveTo>
                <a:lnTo>
                  <a:pt x="1319982" y="5980528"/>
                </a:lnTo>
                <a:lnTo>
                  <a:pt x="1426908" y="6077623"/>
                </a:lnTo>
                <a:lnTo>
                  <a:pt x="1466237" y="6023545"/>
                </a:lnTo>
                <a:lnTo>
                  <a:pt x="1359311" y="5925222"/>
                </a:lnTo>
                <a:close/>
                <a:moveTo>
                  <a:pt x="1005350" y="5926451"/>
                </a:moveTo>
                <a:lnTo>
                  <a:pt x="959875" y="5965780"/>
                </a:lnTo>
                <a:lnTo>
                  <a:pt x="1037304" y="6078851"/>
                </a:lnTo>
                <a:lnTo>
                  <a:pt x="1082778" y="6039522"/>
                </a:lnTo>
                <a:lnTo>
                  <a:pt x="1005350" y="5926451"/>
                </a:lnTo>
                <a:close/>
                <a:moveTo>
                  <a:pt x="1123337" y="5926451"/>
                </a:moveTo>
                <a:lnTo>
                  <a:pt x="1080320" y="5970696"/>
                </a:lnTo>
                <a:lnTo>
                  <a:pt x="1167582" y="6080079"/>
                </a:lnTo>
                <a:lnTo>
                  <a:pt x="1210598" y="6035835"/>
                </a:lnTo>
                <a:lnTo>
                  <a:pt x="1123337" y="5926451"/>
                </a:lnTo>
                <a:close/>
                <a:moveTo>
                  <a:pt x="1242552" y="5927679"/>
                </a:moveTo>
                <a:lnTo>
                  <a:pt x="1200765" y="5976841"/>
                </a:lnTo>
                <a:lnTo>
                  <a:pt x="1297860" y="6080079"/>
                </a:lnTo>
                <a:lnTo>
                  <a:pt x="1338417" y="6030918"/>
                </a:lnTo>
                <a:lnTo>
                  <a:pt x="1242552" y="5927679"/>
                </a:lnTo>
                <a:close/>
                <a:moveTo>
                  <a:pt x="178209" y="5926451"/>
                </a:moveTo>
                <a:lnTo>
                  <a:pt x="119216" y="5931367"/>
                </a:lnTo>
                <a:lnTo>
                  <a:pt x="129048" y="6080079"/>
                </a:lnTo>
                <a:lnTo>
                  <a:pt x="188042" y="6075163"/>
                </a:lnTo>
                <a:lnTo>
                  <a:pt x="178209" y="5926451"/>
                </a:lnTo>
                <a:close/>
                <a:moveTo>
                  <a:pt x="296197" y="5926451"/>
                </a:moveTo>
                <a:lnTo>
                  <a:pt x="239661" y="5936283"/>
                </a:lnTo>
                <a:lnTo>
                  <a:pt x="259326" y="6080079"/>
                </a:lnTo>
                <a:lnTo>
                  <a:pt x="315861" y="6070247"/>
                </a:lnTo>
                <a:lnTo>
                  <a:pt x="296197" y="5926451"/>
                </a:lnTo>
                <a:close/>
                <a:moveTo>
                  <a:pt x="415413" y="5926451"/>
                </a:moveTo>
                <a:lnTo>
                  <a:pt x="360106" y="5941199"/>
                </a:lnTo>
                <a:lnTo>
                  <a:pt x="389603" y="6080079"/>
                </a:lnTo>
                <a:lnTo>
                  <a:pt x="444910" y="6065332"/>
                </a:lnTo>
                <a:lnTo>
                  <a:pt x="415413" y="5926451"/>
                </a:lnTo>
                <a:close/>
                <a:moveTo>
                  <a:pt x="532171" y="5926451"/>
                </a:moveTo>
                <a:lnTo>
                  <a:pt x="479323" y="5946115"/>
                </a:lnTo>
                <a:lnTo>
                  <a:pt x="518652" y="6080079"/>
                </a:lnTo>
                <a:lnTo>
                  <a:pt x="571500" y="6060416"/>
                </a:lnTo>
                <a:lnTo>
                  <a:pt x="532171" y="5926451"/>
                </a:lnTo>
                <a:close/>
                <a:moveTo>
                  <a:pt x="651388" y="5926451"/>
                </a:moveTo>
                <a:lnTo>
                  <a:pt x="599769" y="5951031"/>
                </a:lnTo>
                <a:lnTo>
                  <a:pt x="648930" y="6080079"/>
                </a:lnTo>
                <a:lnTo>
                  <a:pt x="699320" y="6055499"/>
                </a:lnTo>
                <a:lnTo>
                  <a:pt x="651388" y="5926451"/>
                </a:lnTo>
                <a:close/>
                <a:moveTo>
                  <a:pt x="769375" y="5926451"/>
                </a:moveTo>
                <a:lnTo>
                  <a:pt x="720214" y="5957176"/>
                </a:lnTo>
                <a:lnTo>
                  <a:pt x="777978" y="6080079"/>
                </a:lnTo>
                <a:lnTo>
                  <a:pt x="827139" y="6050583"/>
                </a:lnTo>
                <a:lnTo>
                  <a:pt x="769375" y="5926451"/>
                </a:lnTo>
                <a:close/>
                <a:moveTo>
                  <a:pt x="178209" y="6115722"/>
                </a:moveTo>
                <a:lnTo>
                  <a:pt x="119216" y="6120638"/>
                </a:lnTo>
                <a:lnTo>
                  <a:pt x="129048" y="6269352"/>
                </a:lnTo>
                <a:lnTo>
                  <a:pt x="188042" y="6264434"/>
                </a:lnTo>
                <a:lnTo>
                  <a:pt x="178209" y="6115722"/>
                </a:lnTo>
                <a:close/>
                <a:moveTo>
                  <a:pt x="296197" y="6115722"/>
                </a:moveTo>
                <a:lnTo>
                  <a:pt x="239661" y="6125554"/>
                </a:lnTo>
                <a:lnTo>
                  <a:pt x="259326" y="6269352"/>
                </a:lnTo>
                <a:lnTo>
                  <a:pt x="315861" y="6259520"/>
                </a:lnTo>
                <a:lnTo>
                  <a:pt x="296197" y="6115722"/>
                </a:lnTo>
                <a:close/>
                <a:moveTo>
                  <a:pt x="415413" y="6115722"/>
                </a:moveTo>
                <a:lnTo>
                  <a:pt x="360106" y="6130470"/>
                </a:lnTo>
                <a:lnTo>
                  <a:pt x="389603" y="6269352"/>
                </a:lnTo>
                <a:lnTo>
                  <a:pt x="444910" y="6254602"/>
                </a:lnTo>
                <a:lnTo>
                  <a:pt x="415413" y="6115722"/>
                </a:lnTo>
                <a:close/>
                <a:moveTo>
                  <a:pt x="651388" y="6115722"/>
                </a:moveTo>
                <a:lnTo>
                  <a:pt x="599769" y="6140303"/>
                </a:lnTo>
                <a:lnTo>
                  <a:pt x="648930" y="6269352"/>
                </a:lnTo>
                <a:lnTo>
                  <a:pt x="699320" y="6244771"/>
                </a:lnTo>
                <a:lnTo>
                  <a:pt x="651388" y="6115722"/>
                </a:lnTo>
                <a:close/>
                <a:moveTo>
                  <a:pt x="887362" y="6115722"/>
                </a:moveTo>
                <a:lnTo>
                  <a:pt x="840659" y="6150135"/>
                </a:lnTo>
                <a:lnTo>
                  <a:pt x="908255" y="6269352"/>
                </a:lnTo>
                <a:lnTo>
                  <a:pt x="954959" y="6234938"/>
                </a:lnTo>
                <a:lnTo>
                  <a:pt x="887362" y="6115722"/>
                </a:lnTo>
                <a:close/>
                <a:moveTo>
                  <a:pt x="1123337" y="6115722"/>
                </a:moveTo>
                <a:lnTo>
                  <a:pt x="1080320" y="6159967"/>
                </a:lnTo>
                <a:lnTo>
                  <a:pt x="1167582" y="6269352"/>
                </a:lnTo>
                <a:lnTo>
                  <a:pt x="1210598" y="6225107"/>
                </a:lnTo>
                <a:lnTo>
                  <a:pt x="1123337" y="6115722"/>
                </a:lnTo>
                <a:close/>
                <a:moveTo>
                  <a:pt x="1242552" y="6115722"/>
                </a:moveTo>
                <a:lnTo>
                  <a:pt x="1200765" y="6164883"/>
                </a:lnTo>
                <a:lnTo>
                  <a:pt x="1297860" y="6269352"/>
                </a:lnTo>
                <a:lnTo>
                  <a:pt x="1338417" y="6220190"/>
                </a:lnTo>
                <a:lnTo>
                  <a:pt x="1242552" y="6115722"/>
                </a:lnTo>
                <a:close/>
                <a:moveTo>
                  <a:pt x="1476069" y="6115722"/>
                </a:moveTo>
                <a:lnTo>
                  <a:pt x="1439198" y="6174716"/>
                </a:lnTo>
                <a:lnTo>
                  <a:pt x="1555957" y="6269352"/>
                </a:lnTo>
                <a:lnTo>
                  <a:pt x="1592828" y="6210357"/>
                </a:lnTo>
                <a:lnTo>
                  <a:pt x="1476069" y="6115722"/>
                </a:lnTo>
                <a:close/>
                <a:moveTo>
                  <a:pt x="1359311" y="6116950"/>
                </a:moveTo>
                <a:lnTo>
                  <a:pt x="1319982" y="6171029"/>
                </a:lnTo>
                <a:lnTo>
                  <a:pt x="1426908" y="6269352"/>
                </a:lnTo>
                <a:lnTo>
                  <a:pt x="1466237" y="6215273"/>
                </a:lnTo>
                <a:lnTo>
                  <a:pt x="1359311" y="6116950"/>
                </a:lnTo>
                <a:close/>
                <a:moveTo>
                  <a:pt x="1005350" y="6116950"/>
                </a:moveTo>
                <a:lnTo>
                  <a:pt x="959875" y="6156279"/>
                </a:lnTo>
                <a:lnTo>
                  <a:pt x="1037304" y="6269352"/>
                </a:lnTo>
                <a:lnTo>
                  <a:pt x="1082778" y="6230021"/>
                </a:lnTo>
                <a:lnTo>
                  <a:pt x="1005350" y="6116950"/>
                </a:lnTo>
                <a:close/>
                <a:moveTo>
                  <a:pt x="769375" y="6116950"/>
                </a:moveTo>
                <a:lnTo>
                  <a:pt x="720214" y="6145219"/>
                </a:lnTo>
                <a:lnTo>
                  <a:pt x="777978" y="6269352"/>
                </a:lnTo>
                <a:lnTo>
                  <a:pt x="827139" y="6239854"/>
                </a:lnTo>
                <a:lnTo>
                  <a:pt x="769375" y="6116950"/>
                </a:lnTo>
                <a:close/>
                <a:moveTo>
                  <a:pt x="532171" y="6116950"/>
                </a:moveTo>
                <a:lnTo>
                  <a:pt x="479323" y="6136615"/>
                </a:lnTo>
                <a:lnTo>
                  <a:pt x="518652" y="6269352"/>
                </a:lnTo>
                <a:lnTo>
                  <a:pt x="571500" y="6250916"/>
                </a:lnTo>
                <a:lnTo>
                  <a:pt x="532171" y="6116950"/>
                </a:lnTo>
                <a:close/>
                <a:moveTo>
                  <a:pt x="1241324" y="6304993"/>
                </a:moveTo>
                <a:lnTo>
                  <a:pt x="1200765" y="6354154"/>
                </a:lnTo>
                <a:lnTo>
                  <a:pt x="1297860" y="6458622"/>
                </a:lnTo>
                <a:lnTo>
                  <a:pt x="1338417" y="6409460"/>
                </a:lnTo>
                <a:lnTo>
                  <a:pt x="1241324" y="6304993"/>
                </a:lnTo>
                <a:close/>
                <a:moveTo>
                  <a:pt x="1477299" y="6306223"/>
                </a:moveTo>
                <a:lnTo>
                  <a:pt x="1440428" y="6365215"/>
                </a:lnTo>
                <a:lnTo>
                  <a:pt x="1557185" y="6458622"/>
                </a:lnTo>
                <a:lnTo>
                  <a:pt x="1594056" y="6399628"/>
                </a:lnTo>
                <a:lnTo>
                  <a:pt x="1477299" y="6306223"/>
                </a:lnTo>
                <a:close/>
                <a:moveTo>
                  <a:pt x="1359311" y="6307451"/>
                </a:moveTo>
                <a:lnTo>
                  <a:pt x="1319982" y="6361529"/>
                </a:lnTo>
                <a:lnTo>
                  <a:pt x="1426908" y="6459851"/>
                </a:lnTo>
                <a:lnTo>
                  <a:pt x="1466237" y="6405774"/>
                </a:lnTo>
                <a:lnTo>
                  <a:pt x="1359311" y="6307451"/>
                </a:lnTo>
                <a:close/>
                <a:moveTo>
                  <a:pt x="178209" y="6306223"/>
                </a:moveTo>
                <a:lnTo>
                  <a:pt x="119216" y="6311138"/>
                </a:lnTo>
                <a:lnTo>
                  <a:pt x="129048" y="6459851"/>
                </a:lnTo>
                <a:lnTo>
                  <a:pt x="188042" y="6454935"/>
                </a:lnTo>
                <a:lnTo>
                  <a:pt x="178209" y="6306223"/>
                </a:lnTo>
                <a:close/>
                <a:moveTo>
                  <a:pt x="296197" y="6306223"/>
                </a:moveTo>
                <a:lnTo>
                  <a:pt x="239661" y="6316054"/>
                </a:lnTo>
                <a:lnTo>
                  <a:pt x="259326" y="6459851"/>
                </a:lnTo>
                <a:lnTo>
                  <a:pt x="315861" y="6450019"/>
                </a:lnTo>
                <a:lnTo>
                  <a:pt x="296197" y="6306223"/>
                </a:lnTo>
                <a:close/>
                <a:moveTo>
                  <a:pt x="415413" y="6306223"/>
                </a:moveTo>
                <a:lnTo>
                  <a:pt x="360106" y="6320971"/>
                </a:lnTo>
                <a:lnTo>
                  <a:pt x="389603" y="6459851"/>
                </a:lnTo>
                <a:lnTo>
                  <a:pt x="444910" y="6445103"/>
                </a:lnTo>
                <a:lnTo>
                  <a:pt x="415413" y="6306223"/>
                </a:lnTo>
                <a:close/>
                <a:moveTo>
                  <a:pt x="532171" y="6306223"/>
                </a:moveTo>
                <a:lnTo>
                  <a:pt x="479323" y="6325886"/>
                </a:lnTo>
                <a:lnTo>
                  <a:pt x="518652" y="6459851"/>
                </a:lnTo>
                <a:lnTo>
                  <a:pt x="571500" y="6440187"/>
                </a:lnTo>
                <a:lnTo>
                  <a:pt x="532171" y="6306223"/>
                </a:lnTo>
                <a:close/>
                <a:moveTo>
                  <a:pt x="651388" y="6306223"/>
                </a:moveTo>
                <a:lnTo>
                  <a:pt x="599769" y="6330803"/>
                </a:lnTo>
                <a:lnTo>
                  <a:pt x="648930" y="6459851"/>
                </a:lnTo>
                <a:lnTo>
                  <a:pt x="699320" y="6435271"/>
                </a:lnTo>
                <a:lnTo>
                  <a:pt x="651388" y="6306223"/>
                </a:lnTo>
                <a:close/>
                <a:moveTo>
                  <a:pt x="769375" y="6306223"/>
                </a:moveTo>
                <a:lnTo>
                  <a:pt x="720214" y="6335718"/>
                </a:lnTo>
                <a:lnTo>
                  <a:pt x="777978" y="6459851"/>
                </a:lnTo>
                <a:lnTo>
                  <a:pt x="827139" y="6430355"/>
                </a:lnTo>
                <a:lnTo>
                  <a:pt x="769375" y="6306223"/>
                </a:lnTo>
                <a:close/>
                <a:moveTo>
                  <a:pt x="887362" y="6306223"/>
                </a:moveTo>
                <a:lnTo>
                  <a:pt x="840659" y="6340634"/>
                </a:lnTo>
                <a:lnTo>
                  <a:pt x="908255" y="6459851"/>
                </a:lnTo>
                <a:lnTo>
                  <a:pt x="954959" y="6425438"/>
                </a:lnTo>
                <a:lnTo>
                  <a:pt x="887362" y="6306223"/>
                </a:lnTo>
                <a:close/>
                <a:moveTo>
                  <a:pt x="1005350" y="6307451"/>
                </a:moveTo>
                <a:lnTo>
                  <a:pt x="959875" y="6346780"/>
                </a:lnTo>
                <a:lnTo>
                  <a:pt x="1037304" y="6459851"/>
                </a:lnTo>
                <a:lnTo>
                  <a:pt x="1082778" y="6420522"/>
                </a:lnTo>
                <a:lnTo>
                  <a:pt x="1005350" y="6307451"/>
                </a:lnTo>
                <a:close/>
                <a:moveTo>
                  <a:pt x="1123337" y="6307451"/>
                </a:moveTo>
                <a:lnTo>
                  <a:pt x="1080320" y="6351696"/>
                </a:lnTo>
                <a:lnTo>
                  <a:pt x="1167582" y="6459851"/>
                </a:lnTo>
                <a:lnTo>
                  <a:pt x="1210598" y="6415606"/>
                </a:lnTo>
                <a:lnTo>
                  <a:pt x="1123337" y="6307451"/>
                </a:lnTo>
                <a:close/>
                <a:moveTo>
                  <a:pt x="178209" y="6500409"/>
                </a:moveTo>
                <a:lnTo>
                  <a:pt x="119216" y="6505326"/>
                </a:lnTo>
                <a:lnTo>
                  <a:pt x="129048" y="6654039"/>
                </a:lnTo>
                <a:lnTo>
                  <a:pt x="188042" y="6649123"/>
                </a:lnTo>
                <a:lnTo>
                  <a:pt x="178209" y="6500409"/>
                </a:lnTo>
                <a:close/>
                <a:moveTo>
                  <a:pt x="296197" y="6500409"/>
                </a:moveTo>
                <a:lnTo>
                  <a:pt x="240891" y="6510241"/>
                </a:lnTo>
                <a:lnTo>
                  <a:pt x="259326" y="6654039"/>
                </a:lnTo>
                <a:lnTo>
                  <a:pt x="315861" y="6644206"/>
                </a:lnTo>
                <a:lnTo>
                  <a:pt x="296197" y="6500409"/>
                </a:lnTo>
                <a:close/>
                <a:moveTo>
                  <a:pt x="415413" y="6500409"/>
                </a:moveTo>
                <a:lnTo>
                  <a:pt x="360106" y="6515159"/>
                </a:lnTo>
                <a:lnTo>
                  <a:pt x="389603" y="6654039"/>
                </a:lnTo>
                <a:lnTo>
                  <a:pt x="444910" y="6639290"/>
                </a:lnTo>
                <a:lnTo>
                  <a:pt x="415413" y="6500409"/>
                </a:lnTo>
                <a:close/>
                <a:moveTo>
                  <a:pt x="532171" y="6500409"/>
                </a:moveTo>
                <a:lnTo>
                  <a:pt x="479323" y="6520073"/>
                </a:lnTo>
                <a:lnTo>
                  <a:pt x="518652" y="6654039"/>
                </a:lnTo>
                <a:lnTo>
                  <a:pt x="571500" y="6634374"/>
                </a:lnTo>
                <a:lnTo>
                  <a:pt x="532171" y="6500409"/>
                </a:lnTo>
                <a:close/>
                <a:moveTo>
                  <a:pt x="651388" y="6500409"/>
                </a:moveTo>
                <a:lnTo>
                  <a:pt x="599769" y="6524990"/>
                </a:lnTo>
                <a:lnTo>
                  <a:pt x="648930" y="6654039"/>
                </a:lnTo>
                <a:lnTo>
                  <a:pt x="699320" y="6629458"/>
                </a:lnTo>
                <a:lnTo>
                  <a:pt x="651388" y="6500409"/>
                </a:lnTo>
                <a:close/>
                <a:moveTo>
                  <a:pt x="769375" y="6500409"/>
                </a:moveTo>
                <a:lnTo>
                  <a:pt x="720214" y="6531135"/>
                </a:lnTo>
                <a:lnTo>
                  <a:pt x="777978" y="6654039"/>
                </a:lnTo>
                <a:lnTo>
                  <a:pt x="827139" y="6624542"/>
                </a:lnTo>
                <a:lnTo>
                  <a:pt x="769375" y="6500409"/>
                </a:lnTo>
                <a:close/>
                <a:moveTo>
                  <a:pt x="1005350" y="6500409"/>
                </a:moveTo>
                <a:lnTo>
                  <a:pt x="959875" y="6539739"/>
                </a:lnTo>
                <a:lnTo>
                  <a:pt x="1037304" y="6652810"/>
                </a:lnTo>
                <a:lnTo>
                  <a:pt x="1082778" y="6613481"/>
                </a:lnTo>
                <a:lnTo>
                  <a:pt x="1005350" y="6500409"/>
                </a:lnTo>
                <a:close/>
                <a:moveTo>
                  <a:pt x="1242552" y="6500409"/>
                </a:moveTo>
                <a:lnTo>
                  <a:pt x="1200765" y="6549570"/>
                </a:lnTo>
                <a:lnTo>
                  <a:pt x="1297860" y="6654039"/>
                </a:lnTo>
                <a:lnTo>
                  <a:pt x="1338417" y="6604877"/>
                </a:lnTo>
                <a:lnTo>
                  <a:pt x="1242552" y="6500409"/>
                </a:lnTo>
                <a:close/>
                <a:moveTo>
                  <a:pt x="1359311" y="6500409"/>
                </a:moveTo>
                <a:lnTo>
                  <a:pt x="1319982" y="6555716"/>
                </a:lnTo>
                <a:lnTo>
                  <a:pt x="1426908" y="6652810"/>
                </a:lnTo>
                <a:lnTo>
                  <a:pt x="1466237" y="6598732"/>
                </a:lnTo>
                <a:lnTo>
                  <a:pt x="1359311" y="6500409"/>
                </a:lnTo>
                <a:close/>
                <a:moveTo>
                  <a:pt x="1477299" y="6500409"/>
                </a:moveTo>
                <a:lnTo>
                  <a:pt x="1440428" y="6559402"/>
                </a:lnTo>
                <a:lnTo>
                  <a:pt x="1557185" y="6652810"/>
                </a:lnTo>
                <a:lnTo>
                  <a:pt x="1594056" y="6593815"/>
                </a:lnTo>
                <a:lnTo>
                  <a:pt x="1477299" y="6500409"/>
                </a:lnTo>
                <a:close/>
                <a:moveTo>
                  <a:pt x="1123337" y="6501639"/>
                </a:moveTo>
                <a:lnTo>
                  <a:pt x="1080320" y="6545884"/>
                </a:lnTo>
                <a:lnTo>
                  <a:pt x="1167582" y="6654039"/>
                </a:lnTo>
                <a:lnTo>
                  <a:pt x="1210598" y="6609793"/>
                </a:lnTo>
                <a:lnTo>
                  <a:pt x="1123337" y="6501639"/>
                </a:lnTo>
                <a:close/>
                <a:moveTo>
                  <a:pt x="887362" y="6501639"/>
                </a:moveTo>
                <a:lnTo>
                  <a:pt x="840659" y="6536051"/>
                </a:lnTo>
                <a:lnTo>
                  <a:pt x="908255" y="6654039"/>
                </a:lnTo>
                <a:lnTo>
                  <a:pt x="954959" y="6620854"/>
                </a:lnTo>
                <a:lnTo>
                  <a:pt x="887362" y="6501639"/>
                </a:lnTo>
                <a:close/>
                <a:moveTo>
                  <a:pt x="178209" y="6694596"/>
                </a:moveTo>
                <a:lnTo>
                  <a:pt x="119216" y="6699514"/>
                </a:lnTo>
                <a:lnTo>
                  <a:pt x="129048" y="6848226"/>
                </a:lnTo>
                <a:lnTo>
                  <a:pt x="188042" y="6843310"/>
                </a:lnTo>
                <a:lnTo>
                  <a:pt x="178209" y="6694596"/>
                </a:lnTo>
                <a:close/>
                <a:moveTo>
                  <a:pt x="296197" y="6694596"/>
                </a:moveTo>
                <a:lnTo>
                  <a:pt x="239661" y="6704428"/>
                </a:lnTo>
                <a:lnTo>
                  <a:pt x="259326" y="6848226"/>
                </a:lnTo>
                <a:lnTo>
                  <a:pt x="315861" y="6838394"/>
                </a:lnTo>
                <a:lnTo>
                  <a:pt x="296197" y="6694596"/>
                </a:lnTo>
                <a:close/>
                <a:moveTo>
                  <a:pt x="415413" y="6694596"/>
                </a:moveTo>
                <a:lnTo>
                  <a:pt x="360106" y="6709345"/>
                </a:lnTo>
                <a:lnTo>
                  <a:pt x="389603" y="6848226"/>
                </a:lnTo>
                <a:lnTo>
                  <a:pt x="444910" y="6833478"/>
                </a:lnTo>
                <a:lnTo>
                  <a:pt x="415413" y="6694596"/>
                </a:lnTo>
                <a:close/>
                <a:moveTo>
                  <a:pt x="651388" y="6694596"/>
                </a:moveTo>
                <a:lnTo>
                  <a:pt x="599769" y="6719177"/>
                </a:lnTo>
                <a:lnTo>
                  <a:pt x="648930" y="6848226"/>
                </a:lnTo>
                <a:lnTo>
                  <a:pt x="699320" y="6823645"/>
                </a:lnTo>
                <a:lnTo>
                  <a:pt x="651388" y="6694596"/>
                </a:lnTo>
                <a:close/>
                <a:moveTo>
                  <a:pt x="887362" y="6694596"/>
                </a:moveTo>
                <a:lnTo>
                  <a:pt x="840659" y="6729009"/>
                </a:lnTo>
                <a:lnTo>
                  <a:pt x="908255" y="6848226"/>
                </a:lnTo>
                <a:lnTo>
                  <a:pt x="954959" y="6813813"/>
                </a:lnTo>
                <a:lnTo>
                  <a:pt x="887362" y="6694596"/>
                </a:lnTo>
                <a:close/>
                <a:moveTo>
                  <a:pt x="1005350" y="6694596"/>
                </a:moveTo>
                <a:lnTo>
                  <a:pt x="959875" y="6735155"/>
                </a:lnTo>
                <a:lnTo>
                  <a:pt x="1037304" y="6848226"/>
                </a:lnTo>
                <a:lnTo>
                  <a:pt x="1082778" y="6808897"/>
                </a:lnTo>
                <a:lnTo>
                  <a:pt x="1005350" y="6694596"/>
                </a:lnTo>
                <a:close/>
                <a:moveTo>
                  <a:pt x="1123337" y="6695826"/>
                </a:moveTo>
                <a:lnTo>
                  <a:pt x="1080320" y="6740071"/>
                </a:lnTo>
                <a:lnTo>
                  <a:pt x="1167582" y="6848226"/>
                </a:lnTo>
                <a:lnTo>
                  <a:pt x="1210598" y="6803981"/>
                </a:lnTo>
                <a:lnTo>
                  <a:pt x="1123337" y="6695826"/>
                </a:lnTo>
                <a:close/>
                <a:moveTo>
                  <a:pt x="1240094" y="6695826"/>
                </a:moveTo>
                <a:lnTo>
                  <a:pt x="1199537" y="6744987"/>
                </a:lnTo>
                <a:lnTo>
                  <a:pt x="1296630" y="6848226"/>
                </a:lnTo>
                <a:lnTo>
                  <a:pt x="1338417" y="6799065"/>
                </a:lnTo>
                <a:lnTo>
                  <a:pt x="1240094" y="6695826"/>
                </a:lnTo>
                <a:close/>
                <a:moveTo>
                  <a:pt x="1359311" y="6695826"/>
                </a:moveTo>
                <a:lnTo>
                  <a:pt x="1319982" y="6749903"/>
                </a:lnTo>
                <a:lnTo>
                  <a:pt x="1426908" y="6848226"/>
                </a:lnTo>
                <a:lnTo>
                  <a:pt x="1466237" y="6794149"/>
                </a:lnTo>
                <a:lnTo>
                  <a:pt x="1359311" y="6695826"/>
                </a:lnTo>
                <a:close/>
                <a:moveTo>
                  <a:pt x="769375" y="6695826"/>
                </a:moveTo>
                <a:lnTo>
                  <a:pt x="720214" y="6726552"/>
                </a:lnTo>
                <a:lnTo>
                  <a:pt x="777978" y="6849456"/>
                </a:lnTo>
                <a:lnTo>
                  <a:pt x="827139" y="6819958"/>
                </a:lnTo>
                <a:lnTo>
                  <a:pt x="769375" y="6695826"/>
                </a:lnTo>
                <a:close/>
                <a:moveTo>
                  <a:pt x="532171" y="6695826"/>
                </a:moveTo>
                <a:lnTo>
                  <a:pt x="479323" y="6715490"/>
                </a:lnTo>
                <a:lnTo>
                  <a:pt x="518652" y="6848226"/>
                </a:lnTo>
                <a:lnTo>
                  <a:pt x="571500" y="6829790"/>
                </a:lnTo>
                <a:lnTo>
                  <a:pt x="532171" y="669582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5" name="Picture 14">
            <a:extLst>
              <a:ext uri="{FF2B5EF4-FFF2-40B4-BE49-F238E27FC236}">
                <a16:creationId xmlns:a16="http://schemas.microsoft.com/office/drawing/2014/main" id="{31C29698-BCB5-4C4D-AF46-1E15D7DDC8D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553" y="644086"/>
            <a:ext cx="2641600" cy="685800"/>
          </a:xfrm>
          <a:prstGeom prst="rect">
            <a:avLst/>
          </a:prstGeom>
        </p:spPr>
      </p:pic>
      <p:sp>
        <p:nvSpPr>
          <p:cNvPr id="2" name="Title 1">
            <a:extLst>
              <a:ext uri="{FF2B5EF4-FFF2-40B4-BE49-F238E27FC236}">
                <a16:creationId xmlns:a16="http://schemas.microsoft.com/office/drawing/2014/main" id="{F9220957-A5C1-E44F-A965-B8274DF2F3CA}"/>
              </a:ext>
            </a:extLst>
          </p:cNvPr>
          <p:cNvSpPr>
            <a:spLocks noGrp="1"/>
          </p:cNvSpPr>
          <p:nvPr>
            <p:ph type="title" hasCustomPrompt="1"/>
          </p:nvPr>
        </p:nvSpPr>
        <p:spPr>
          <a:xfrm>
            <a:off x="6588553" y="1810694"/>
            <a:ext cx="4330060" cy="3358835"/>
          </a:xfrm>
        </p:spPr>
        <p:txBody>
          <a:bodyPr anchor="ctr" anchorCtr="0"/>
          <a:lstStyle>
            <a:lvl1pPr fontAlgn="ctr">
              <a:defRPr>
                <a:solidFill>
                  <a:schemeClr val="bg1"/>
                </a:solidFill>
              </a:defRPr>
            </a:lvl1pPr>
          </a:lstStyle>
          <a:p>
            <a:r>
              <a:rPr lang="en-US" dirty="0"/>
              <a:t>TYPE DIVIDER TITLE HERE</a:t>
            </a:r>
          </a:p>
        </p:txBody>
      </p:sp>
    </p:spTree>
    <p:extLst>
      <p:ext uri="{BB962C8B-B14F-4D97-AF65-F5344CB8AC3E}">
        <p14:creationId xmlns:p14="http://schemas.microsoft.com/office/powerpoint/2010/main" val="29612046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1 Column No Subhead">
    <p:spTree>
      <p:nvGrpSpPr>
        <p:cNvPr id="1" name=""/>
        <p:cNvGrpSpPr/>
        <p:nvPr/>
      </p:nvGrpSpPr>
      <p:grpSpPr>
        <a:xfrm>
          <a:off x="0" y="0"/>
          <a:ext cx="0" cy="0"/>
          <a:chOff x="0" y="0"/>
          <a:chExt cx="0" cy="0"/>
        </a:xfrm>
      </p:grpSpPr>
      <p:sp>
        <p:nvSpPr>
          <p:cNvPr id="8" name="Title 8">
            <a:extLst>
              <a:ext uri="{FF2B5EF4-FFF2-40B4-BE49-F238E27FC236}">
                <a16:creationId xmlns:a16="http://schemas.microsoft.com/office/drawing/2014/main" id="{70FAD623-D605-41BD-8A90-8CD2DA25F9F3}"/>
              </a:ext>
            </a:extLst>
          </p:cNvPr>
          <p:cNvSpPr>
            <a:spLocks noGrp="1"/>
          </p:cNvSpPr>
          <p:nvPr>
            <p:ph type="title" hasCustomPrompt="1"/>
          </p:nvPr>
        </p:nvSpPr>
        <p:spPr>
          <a:xfrm>
            <a:off x="743712" y="506994"/>
            <a:ext cx="10708464" cy="934345"/>
          </a:xfrm>
          <a:prstGeom prst="rect">
            <a:avLst/>
          </a:prstGeom>
        </p:spPr>
        <p:txBody>
          <a:bodyPr/>
          <a:lstStyle>
            <a:lvl1pPr marL="0" algn="l" defTabSz="685800" rtl="0" eaLnBrk="1" latinLnBrk="0" hangingPunct="1">
              <a:lnSpc>
                <a:spcPct val="90000"/>
              </a:lnSpc>
              <a:spcBef>
                <a:spcPct val="0"/>
              </a:spcBef>
              <a:buNone/>
              <a:defRPr lang="en-US" sz="2800" b="1" i="0" kern="1200" cap="none" spc="0" baseline="0" dirty="0">
                <a:solidFill>
                  <a:schemeClr val="accent2"/>
                </a:solidFill>
                <a:latin typeface="+mj-lt"/>
                <a:ea typeface="+mj-ea"/>
                <a:cs typeface="+mj-cs"/>
              </a:defRPr>
            </a:lvl1pPr>
          </a:lstStyle>
          <a:p>
            <a:r>
              <a:rPr lang="en-US" dirty="0"/>
              <a:t>Body copy slide template — 1 column/no subhead</a:t>
            </a:r>
          </a:p>
        </p:txBody>
      </p:sp>
      <p:sp>
        <p:nvSpPr>
          <p:cNvPr id="9" name="Content Placeholder 49">
            <a:extLst>
              <a:ext uri="{FF2B5EF4-FFF2-40B4-BE49-F238E27FC236}">
                <a16:creationId xmlns:a16="http://schemas.microsoft.com/office/drawing/2014/main" id="{3F5B4AA4-8448-4910-88F2-2C24237762AE}"/>
              </a:ext>
            </a:extLst>
          </p:cNvPr>
          <p:cNvSpPr>
            <a:spLocks noGrp="1"/>
          </p:cNvSpPr>
          <p:nvPr>
            <p:ph sz="quarter" idx="16"/>
          </p:nvPr>
        </p:nvSpPr>
        <p:spPr>
          <a:xfrm>
            <a:off x="743713" y="1580740"/>
            <a:ext cx="10708465" cy="4421709"/>
          </a:xfrm>
          <a:prstGeom prst="rect">
            <a:avLst/>
          </a:prstGeom>
        </p:spPr>
        <p:txBody>
          <a:bodyPr/>
          <a:lstStyle>
            <a:lvl1pPr marL="0" indent="0">
              <a:lnSpc>
                <a:spcPct val="100000"/>
              </a:lnSpc>
              <a:spcBef>
                <a:spcPts val="400"/>
              </a:spcBef>
              <a:buNone/>
              <a:defRPr sz="1200"/>
            </a:lvl1pPr>
            <a:lvl2pPr marL="294085" indent="-285750">
              <a:lnSpc>
                <a:spcPct val="100000"/>
              </a:lnSpc>
              <a:spcBef>
                <a:spcPts val="400"/>
              </a:spcBef>
              <a:buFont typeface="Wingdings" panose="05000000000000000000" pitchFamily="2" charset="2"/>
              <a:buChar char="§"/>
              <a:tabLst/>
              <a:defRPr sz="1200"/>
            </a:lvl2pPr>
            <a:lvl3pPr marL="461963" indent="-163513">
              <a:lnSpc>
                <a:spcPct val="100000"/>
              </a:lnSpc>
              <a:spcBef>
                <a:spcPts val="400"/>
              </a:spcBef>
              <a:spcAft>
                <a:spcPts val="0"/>
              </a:spcAft>
              <a:buFont typeface="System Font Regular"/>
              <a:buChar char="–"/>
              <a:tabLst/>
              <a:defRPr sz="1200"/>
            </a:lvl3pPr>
            <a:lvl4pPr marL="742950" indent="-249238">
              <a:lnSpc>
                <a:spcPct val="100000"/>
              </a:lnSpc>
              <a:spcBef>
                <a:spcPts val="400"/>
              </a:spcBef>
              <a:buFont typeface="Arial" panose="020B0604020202020204" pitchFamily="34" charset="0"/>
              <a:buChar char="•"/>
              <a:tabLst/>
              <a:defRPr sz="1200"/>
            </a:lvl4pPr>
            <a:lvl5pPr marL="968375" indent="-225425">
              <a:lnSpc>
                <a:spcPct val="100000"/>
              </a:lnSpc>
              <a:spcBef>
                <a:spcPts val="400"/>
              </a:spcBef>
              <a:buFont typeface="Century Gothic" panose="020B0502020202020204" pitchFamily="34" charset="0"/>
              <a:buChar char="◦"/>
              <a:tabLst/>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Box 14">
            <a:extLst>
              <a:ext uri="{FF2B5EF4-FFF2-40B4-BE49-F238E27FC236}">
                <a16:creationId xmlns:a16="http://schemas.microsoft.com/office/drawing/2014/main" id="{D4163957-E99E-4BC2-A99B-6FCD13EDEC2B}"/>
              </a:ext>
            </a:extLst>
          </p:cNvPr>
          <p:cNvSpPr txBox="1"/>
          <p:nvPr userDrawn="1"/>
        </p:nvSpPr>
        <p:spPr>
          <a:xfrm>
            <a:off x="11389543" y="6449585"/>
            <a:ext cx="470781" cy="184666"/>
          </a:xfrm>
          <a:prstGeom prst="rect">
            <a:avLst/>
          </a:prstGeom>
          <a:noFill/>
        </p:spPr>
        <p:txBody>
          <a:bodyPr wrap="square" rtlCol="0">
            <a:spAutoFit/>
          </a:bodyPr>
          <a:lstStyle/>
          <a:p>
            <a:pPr algn="r"/>
            <a:fld id="{F9BF52E7-0EA3-4490-92E3-8B24BB968F96}" type="slidenum">
              <a:rPr lang="en-US" sz="600" smtClean="0">
                <a:solidFill>
                  <a:schemeClr val="accent5"/>
                </a:solidFill>
                <a:latin typeface="Century Gothic" panose="020B0502020202020204" pitchFamily="34" charset="0"/>
              </a:rPr>
              <a:pPr algn="r"/>
              <a:t>‹#›</a:t>
            </a:fld>
            <a:endParaRPr lang="en-US" sz="600" dirty="0">
              <a:solidFill>
                <a:schemeClr val="accent5"/>
              </a:solidFill>
              <a:latin typeface="Century Gothic" panose="020B0502020202020204" pitchFamily="34" charset="0"/>
            </a:endParaRPr>
          </a:p>
        </p:txBody>
      </p:sp>
      <p:sp>
        <p:nvSpPr>
          <p:cNvPr id="7" name="Text Placeholder 3">
            <a:extLst>
              <a:ext uri="{FF2B5EF4-FFF2-40B4-BE49-F238E27FC236}">
                <a16:creationId xmlns:a16="http://schemas.microsoft.com/office/drawing/2014/main" id="{4F8E272E-713F-D249-8936-1AE0105710F7}"/>
              </a:ext>
            </a:extLst>
          </p:cNvPr>
          <p:cNvSpPr>
            <a:spLocks noGrp="1"/>
          </p:cNvSpPr>
          <p:nvPr>
            <p:ph type="body" sz="quarter" idx="13"/>
          </p:nvPr>
        </p:nvSpPr>
        <p:spPr>
          <a:xfrm>
            <a:off x="873804" y="1058"/>
            <a:ext cx="2536720" cy="253916"/>
          </a:xfrm>
          <a:prstGeom prst="rect">
            <a:avLst/>
          </a:prstGeom>
          <a:solidFill>
            <a:schemeClr val="tx2"/>
          </a:solidFill>
          <a:ln>
            <a:noFill/>
          </a:ln>
        </p:spPr>
        <p:txBody>
          <a:bodyPr wrap="none" lIns="91440" tIns="45720" rIns="91440" bIns="45720" anchor="ctr">
            <a:spAutoFit/>
          </a:bodyPr>
          <a:lstStyle>
            <a:lvl1pPr marL="0" indent="0">
              <a:buNone/>
              <a:defRPr sz="1050" b="1" cap="all" spc="38" baseline="0">
                <a:solidFill>
                  <a:schemeClr val="bg1"/>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464141249"/>
      </p:ext>
    </p:extLst>
  </p:cSld>
  <p:clrMapOvr>
    <a:masterClrMapping/>
  </p:clrMapOvr>
  <p:hf hdr="0" ftr="0" dt="0"/>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 Column Title, Subhead, Content">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72D815E6-E113-4D48-8410-01993D111319}"/>
              </a:ext>
            </a:extLst>
          </p:cNvPr>
          <p:cNvSpPr>
            <a:spLocks noGrp="1"/>
          </p:cNvSpPr>
          <p:nvPr>
            <p:ph type="subTitle" idx="1"/>
          </p:nvPr>
        </p:nvSpPr>
        <p:spPr>
          <a:xfrm>
            <a:off x="743712" y="1502730"/>
            <a:ext cx="10708464" cy="380487"/>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lang="en-US" sz="1600" b="1" i="0" kern="1200" cap="all" spc="38" baseline="0" dirty="0">
                <a:solidFill>
                  <a:srgbClr val="5369E5"/>
                </a:solidFill>
                <a:latin typeface="+mj-lt"/>
                <a:ea typeface="+mn-ea"/>
                <a:cs typeface="+mn-cs"/>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
        <p:nvSpPr>
          <p:cNvPr id="8" name="Title 8">
            <a:extLst>
              <a:ext uri="{FF2B5EF4-FFF2-40B4-BE49-F238E27FC236}">
                <a16:creationId xmlns:a16="http://schemas.microsoft.com/office/drawing/2014/main" id="{70FAD623-D605-41BD-8A90-8CD2DA25F9F3}"/>
              </a:ext>
            </a:extLst>
          </p:cNvPr>
          <p:cNvSpPr>
            <a:spLocks noGrp="1"/>
          </p:cNvSpPr>
          <p:nvPr>
            <p:ph type="title" hasCustomPrompt="1"/>
          </p:nvPr>
        </p:nvSpPr>
        <p:spPr>
          <a:xfrm>
            <a:off x="743712" y="506994"/>
            <a:ext cx="10708464" cy="934345"/>
          </a:xfrm>
          <a:prstGeom prst="rect">
            <a:avLst/>
          </a:prstGeom>
        </p:spPr>
        <p:txBody>
          <a:bodyPr/>
          <a:lstStyle>
            <a:lvl1pPr marL="0" algn="l" defTabSz="685800" rtl="0" eaLnBrk="1" latinLnBrk="0" hangingPunct="1">
              <a:lnSpc>
                <a:spcPct val="90000"/>
              </a:lnSpc>
              <a:spcBef>
                <a:spcPct val="0"/>
              </a:spcBef>
              <a:buNone/>
              <a:defRPr lang="en-US" sz="2800" b="1" i="0" kern="1200" cap="none" spc="0" baseline="0" dirty="0">
                <a:solidFill>
                  <a:schemeClr val="accent2"/>
                </a:solidFill>
                <a:latin typeface="+mj-lt"/>
                <a:ea typeface="+mj-ea"/>
                <a:cs typeface="+mj-cs"/>
              </a:defRPr>
            </a:lvl1pPr>
          </a:lstStyle>
          <a:p>
            <a:r>
              <a:rPr lang="en-US" dirty="0"/>
              <a:t>Body copy slide template — 1 column/subhead</a:t>
            </a:r>
          </a:p>
        </p:txBody>
      </p:sp>
      <p:sp>
        <p:nvSpPr>
          <p:cNvPr id="9" name="Content Placeholder 49">
            <a:extLst>
              <a:ext uri="{FF2B5EF4-FFF2-40B4-BE49-F238E27FC236}">
                <a16:creationId xmlns:a16="http://schemas.microsoft.com/office/drawing/2014/main" id="{3F5B4AA4-8448-4910-88F2-2C24237762AE}"/>
              </a:ext>
            </a:extLst>
          </p:cNvPr>
          <p:cNvSpPr>
            <a:spLocks noGrp="1"/>
          </p:cNvSpPr>
          <p:nvPr>
            <p:ph sz="quarter" idx="16"/>
          </p:nvPr>
        </p:nvSpPr>
        <p:spPr>
          <a:xfrm>
            <a:off x="743713" y="2013614"/>
            <a:ext cx="10708465" cy="3227662"/>
          </a:xfrm>
          <a:prstGeom prst="rect">
            <a:avLst/>
          </a:prstGeom>
        </p:spPr>
        <p:txBody>
          <a:bodyPr/>
          <a:lstStyle>
            <a:lvl1pPr marL="0" indent="0">
              <a:lnSpc>
                <a:spcPct val="100000"/>
              </a:lnSpc>
              <a:spcBef>
                <a:spcPts val="400"/>
              </a:spcBef>
              <a:buNone/>
              <a:defRPr sz="1200"/>
            </a:lvl1pPr>
            <a:lvl2pPr marL="294085" indent="-285750">
              <a:lnSpc>
                <a:spcPct val="100000"/>
              </a:lnSpc>
              <a:spcBef>
                <a:spcPts val="400"/>
              </a:spcBef>
              <a:buFont typeface="Wingdings" panose="05000000000000000000" pitchFamily="2" charset="2"/>
              <a:buChar char="§"/>
              <a:tabLst/>
              <a:defRPr sz="1200"/>
            </a:lvl2pPr>
            <a:lvl3pPr marL="461963" indent="-163513">
              <a:lnSpc>
                <a:spcPct val="100000"/>
              </a:lnSpc>
              <a:spcBef>
                <a:spcPts val="400"/>
              </a:spcBef>
              <a:spcAft>
                <a:spcPts val="0"/>
              </a:spcAft>
              <a:buFont typeface="System Font Regular"/>
              <a:buChar char="–"/>
              <a:tabLst/>
              <a:defRPr sz="1200"/>
            </a:lvl3pPr>
            <a:lvl4pPr marL="742950" indent="-249238">
              <a:lnSpc>
                <a:spcPct val="100000"/>
              </a:lnSpc>
              <a:spcBef>
                <a:spcPts val="400"/>
              </a:spcBef>
              <a:buFont typeface="Arial" panose="020B0604020202020204" pitchFamily="34" charset="0"/>
              <a:buChar char="•"/>
              <a:tabLst/>
              <a:defRPr sz="1200"/>
            </a:lvl4pPr>
            <a:lvl5pPr marL="968375" indent="-225425">
              <a:lnSpc>
                <a:spcPct val="100000"/>
              </a:lnSpc>
              <a:spcBef>
                <a:spcPts val="400"/>
              </a:spcBef>
              <a:buFont typeface="Century Gothic" panose="020B0502020202020204" pitchFamily="34" charset="0"/>
              <a:buChar char="◦"/>
              <a:tabLst/>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Box 14">
            <a:extLst>
              <a:ext uri="{FF2B5EF4-FFF2-40B4-BE49-F238E27FC236}">
                <a16:creationId xmlns:a16="http://schemas.microsoft.com/office/drawing/2014/main" id="{D4163957-E99E-4BC2-A99B-6FCD13EDEC2B}"/>
              </a:ext>
            </a:extLst>
          </p:cNvPr>
          <p:cNvSpPr txBox="1"/>
          <p:nvPr userDrawn="1"/>
        </p:nvSpPr>
        <p:spPr>
          <a:xfrm>
            <a:off x="11389543" y="6449585"/>
            <a:ext cx="470781" cy="184666"/>
          </a:xfrm>
          <a:prstGeom prst="rect">
            <a:avLst/>
          </a:prstGeom>
          <a:noFill/>
        </p:spPr>
        <p:txBody>
          <a:bodyPr wrap="square" rtlCol="0">
            <a:spAutoFit/>
          </a:bodyPr>
          <a:lstStyle/>
          <a:p>
            <a:pPr algn="r"/>
            <a:fld id="{F9BF52E7-0EA3-4490-92E3-8B24BB968F96}" type="slidenum">
              <a:rPr lang="en-US" sz="600" smtClean="0">
                <a:solidFill>
                  <a:schemeClr val="accent5"/>
                </a:solidFill>
                <a:latin typeface="Century Gothic" panose="020B0502020202020204" pitchFamily="34" charset="0"/>
              </a:rPr>
              <a:pPr algn="r"/>
              <a:t>‹#›</a:t>
            </a:fld>
            <a:endParaRPr lang="en-US" sz="600" dirty="0">
              <a:solidFill>
                <a:schemeClr val="accent5"/>
              </a:solidFill>
              <a:latin typeface="Century Gothic" panose="020B0502020202020204" pitchFamily="34" charset="0"/>
            </a:endParaRPr>
          </a:p>
        </p:txBody>
      </p:sp>
      <p:sp>
        <p:nvSpPr>
          <p:cNvPr id="11" name="Text Placeholder 3">
            <a:extLst>
              <a:ext uri="{FF2B5EF4-FFF2-40B4-BE49-F238E27FC236}">
                <a16:creationId xmlns:a16="http://schemas.microsoft.com/office/drawing/2014/main" id="{79E7BC2C-905E-B644-8D55-271D10BF029D}"/>
              </a:ext>
            </a:extLst>
          </p:cNvPr>
          <p:cNvSpPr>
            <a:spLocks noGrp="1"/>
          </p:cNvSpPr>
          <p:nvPr>
            <p:ph type="body" sz="quarter" idx="13"/>
          </p:nvPr>
        </p:nvSpPr>
        <p:spPr>
          <a:xfrm>
            <a:off x="873804" y="1058"/>
            <a:ext cx="2536720" cy="253916"/>
          </a:xfrm>
          <a:prstGeom prst="rect">
            <a:avLst/>
          </a:prstGeom>
          <a:solidFill>
            <a:schemeClr val="tx2"/>
          </a:solidFill>
          <a:ln>
            <a:noFill/>
          </a:ln>
        </p:spPr>
        <p:txBody>
          <a:bodyPr wrap="none" lIns="91440" tIns="45720" rIns="91440" bIns="45720" anchor="ctr">
            <a:spAutoFit/>
          </a:bodyPr>
          <a:lstStyle>
            <a:lvl1pPr marL="0" indent="0">
              <a:buNone/>
              <a:defRPr sz="1050" b="1" cap="all" spc="38" baseline="0">
                <a:solidFill>
                  <a:schemeClr val="bg1"/>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489052130"/>
      </p:ext>
    </p:extLst>
  </p:cSld>
  <p:clrMapOvr>
    <a:masterClrMapping/>
  </p:clrMapOvr>
  <p:hf hdr="0" ftr="0" dt="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umns Title, Subhead and Content">
    <p:spTree>
      <p:nvGrpSpPr>
        <p:cNvPr id="1" name=""/>
        <p:cNvGrpSpPr/>
        <p:nvPr/>
      </p:nvGrpSpPr>
      <p:grpSpPr>
        <a:xfrm>
          <a:off x="0" y="0"/>
          <a:ext cx="0" cy="0"/>
          <a:chOff x="0" y="0"/>
          <a:chExt cx="0" cy="0"/>
        </a:xfrm>
      </p:grpSpPr>
      <p:sp>
        <p:nvSpPr>
          <p:cNvPr id="31" name="Content Placeholder 2">
            <a:extLst>
              <a:ext uri="{FF2B5EF4-FFF2-40B4-BE49-F238E27FC236}">
                <a16:creationId xmlns:a16="http://schemas.microsoft.com/office/drawing/2014/main" id="{20B0BBDC-8118-4B68-89E3-3E2D8557F80B}"/>
              </a:ext>
            </a:extLst>
          </p:cNvPr>
          <p:cNvSpPr>
            <a:spLocks noGrp="1"/>
          </p:cNvSpPr>
          <p:nvPr>
            <p:ph sz="half" idx="1"/>
          </p:nvPr>
        </p:nvSpPr>
        <p:spPr>
          <a:xfrm>
            <a:off x="743713" y="2262542"/>
            <a:ext cx="5150777" cy="3866655"/>
          </a:xfrm>
        </p:spPr>
        <p:txBody>
          <a:bodyPr/>
          <a:lstStyle>
            <a:lvl1pPr algn="l" defTabSz="457200" rtl="0" eaLnBrk="1" latinLnBrk="0" hangingPunct="1">
              <a:lnSpc>
                <a:spcPct val="100000"/>
              </a:lnSpc>
              <a:spcBef>
                <a:spcPts val="400"/>
              </a:spcBef>
              <a:defRPr lang="en-US" sz="1200" kern="1200" dirty="0">
                <a:solidFill>
                  <a:srgbClr val="000000"/>
                </a:solidFill>
                <a:latin typeface="Century Gothic" panose="020B0502020202020204" pitchFamily="34" charset="0"/>
                <a:ea typeface="+mn-ea"/>
                <a:cs typeface="Arial"/>
              </a:defRPr>
            </a:lvl1pPr>
            <a:lvl2pPr algn="l" defTabSz="457200" rtl="0" eaLnBrk="1" latinLnBrk="0" hangingPunct="1">
              <a:lnSpc>
                <a:spcPct val="100000"/>
              </a:lnSpc>
              <a:spcBef>
                <a:spcPts val="400"/>
              </a:spcBef>
              <a:defRPr lang="en-US" sz="1200" kern="1200" dirty="0">
                <a:solidFill>
                  <a:srgbClr val="000000"/>
                </a:solidFill>
                <a:latin typeface="Century Gothic" panose="020B0502020202020204" pitchFamily="34" charset="0"/>
                <a:ea typeface="+mn-ea"/>
                <a:cs typeface="Arial"/>
              </a:defRPr>
            </a:lvl2pPr>
            <a:lvl3pPr algn="l" defTabSz="457200" rtl="0" eaLnBrk="1" latinLnBrk="0" hangingPunct="1">
              <a:lnSpc>
                <a:spcPct val="100000"/>
              </a:lnSpc>
              <a:spcBef>
                <a:spcPts val="400"/>
              </a:spcBef>
              <a:defRPr lang="en-US" sz="1200" kern="1200" dirty="0">
                <a:solidFill>
                  <a:srgbClr val="000000"/>
                </a:solidFill>
                <a:latin typeface="Century Gothic" panose="020B0502020202020204" pitchFamily="34" charset="0"/>
                <a:ea typeface="+mn-ea"/>
                <a:cs typeface="Arial"/>
              </a:defRPr>
            </a:lvl3pPr>
            <a:lvl4pPr algn="l" defTabSz="457200" rtl="0" eaLnBrk="1" latinLnBrk="0" hangingPunct="1">
              <a:lnSpc>
                <a:spcPct val="100000"/>
              </a:lnSpc>
              <a:spcBef>
                <a:spcPts val="400"/>
              </a:spcBef>
              <a:defRPr lang="en-US" sz="1200" kern="1200" dirty="0">
                <a:solidFill>
                  <a:srgbClr val="000000"/>
                </a:solidFill>
                <a:latin typeface="Century Gothic" panose="020B0502020202020204" pitchFamily="34" charset="0"/>
                <a:ea typeface="+mn-ea"/>
                <a:cs typeface="Arial"/>
              </a:defRPr>
            </a:lvl4pPr>
            <a:lvl5pPr algn="l" defTabSz="457200" rtl="0" eaLnBrk="1" latinLnBrk="0" hangingPunct="1">
              <a:lnSpc>
                <a:spcPct val="100000"/>
              </a:lnSpc>
              <a:spcBef>
                <a:spcPts val="400"/>
              </a:spcBef>
              <a:defRPr lang="en-US" sz="1200" kern="1200" dirty="0">
                <a:solidFill>
                  <a:srgbClr val="000000"/>
                </a:solidFill>
                <a:latin typeface="Century Gothic" panose="020B0502020202020204" pitchFamily="34" charset="0"/>
                <a:ea typeface="+mn-ea"/>
                <a:cs typeface="Arial"/>
              </a:defRPr>
            </a:lvl5pPr>
            <a:lvl6pPr>
              <a:defRPr sz="1800"/>
            </a:lvl6pPr>
            <a:lvl7pPr>
              <a:defRPr sz="1800"/>
            </a:lvl7pPr>
            <a:lvl8pPr>
              <a:defRPr sz="1800"/>
            </a:lvl8pPr>
            <a:lvl9pPr>
              <a:defRPr sz="18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ext Placeholder 2">
            <a:extLst>
              <a:ext uri="{FF2B5EF4-FFF2-40B4-BE49-F238E27FC236}">
                <a16:creationId xmlns:a16="http://schemas.microsoft.com/office/drawing/2014/main" id="{20A3D1DB-4C58-44EA-9422-33D381409351}"/>
              </a:ext>
            </a:extLst>
          </p:cNvPr>
          <p:cNvSpPr>
            <a:spLocks noGrp="1"/>
          </p:cNvSpPr>
          <p:nvPr>
            <p:ph type="body" idx="10" hasCustomPrompt="1"/>
          </p:nvPr>
        </p:nvSpPr>
        <p:spPr>
          <a:xfrm>
            <a:off x="743713" y="1580739"/>
            <a:ext cx="5183289" cy="518390"/>
          </a:xfrm>
          <a:prstGeom prst="rect">
            <a:avLst/>
          </a:prstGeom>
        </p:spPr>
        <p:txBody>
          <a:bodyPr anchor="b"/>
          <a:lstStyle>
            <a:lvl1pPr marL="0" indent="0">
              <a:buNone/>
              <a:defRPr sz="1400" b="1">
                <a:solidFill>
                  <a:srgbClr val="5369E5"/>
                </a:solidFill>
              </a:defRPr>
            </a:lvl1pPr>
            <a:lvl2pPr marL="457187" indent="0">
              <a:buNone/>
              <a:defRPr sz="2000" b="1"/>
            </a:lvl2pPr>
            <a:lvl3pPr marL="914373" indent="0">
              <a:buNone/>
              <a:defRPr sz="1800" b="1"/>
            </a:lvl3pPr>
            <a:lvl4pPr marL="1371560" indent="0">
              <a:buNone/>
              <a:defRPr sz="1600" b="1"/>
            </a:lvl4pPr>
            <a:lvl5pPr marL="1828747" indent="0">
              <a:buNone/>
              <a:defRPr sz="1600" b="1"/>
            </a:lvl5pPr>
            <a:lvl6pPr marL="2285933" indent="0">
              <a:buNone/>
              <a:defRPr sz="1600" b="1"/>
            </a:lvl6pPr>
            <a:lvl7pPr marL="2743120" indent="0">
              <a:buNone/>
              <a:defRPr sz="1600" b="1"/>
            </a:lvl7pPr>
            <a:lvl8pPr marL="3200307" indent="0">
              <a:buNone/>
              <a:defRPr sz="1600" b="1"/>
            </a:lvl8pPr>
            <a:lvl9pPr marL="3657494" indent="0">
              <a:buNone/>
              <a:defRPr sz="1600" b="1"/>
            </a:lvl9pPr>
          </a:lstStyle>
          <a:p>
            <a:pPr lvl="0"/>
            <a:r>
              <a:rPr lang="en-US" dirty="0"/>
              <a:t>EDIT MASTER TEXT STYLES</a:t>
            </a:r>
          </a:p>
        </p:txBody>
      </p:sp>
      <p:sp>
        <p:nvSpPr>
          <p:cNvPr id="38" name="Content Placeholder 2">
            <a:extLst>
              <a:ext uri="{FF2B5EF4-FFF2-40B4-BE49-F238E27FC236}">
                <a16:creationId xmlns:a16="http://schemas.microsoft.com/office/drawing/2014/main" id="{D508B5B0-25FF-457A-8E43-262E32238439}"/>
              </a:ext>
            </a:extLst>
          </p:cNvPr>
          <p:cNvSpPr>
            <a:spLocks noGrp="1"/>
          </p:cNvSpPr>
          <p:nvPr>
            <p:ph sz="half" idx="14"/>
          </p:nvPr>
        </p:nvSpPr>
        <p:spPr>
          <a:xfrm>
            <a:off x="6297514" y="2262542"/>
            <a:ext cx="5150777" cy="3866655"/>
          </a:xfrm>
        </p:spPr>
        <p:txBody>
          <a:bodyPr/>
          <a:lstStyle>
            <a:lvl1pPr algn="l" defTabSz="457200" rtl="0" eaLnBrk="1" latinLnBrk="0" hangingPunct="1">
              <a:lnSpc>
                <a:spcPct val="100000"/>
              </a:lnSpc>
              <a:spcBef>
                <a:spcPts val="400"/>
              </a:spcBef>
              <a:defRPr lang="en-US" sz="1200" kern="1200" dirty="0">
                <a:solidFill>
                  <a:srgbClr val="000000"/>
                </a:solidFill>
                <a:latin typeface="Century Gothic" panose="020B0502020202020204" pitchFamily="34" charset="0"/>
                <a:ea typeface="+mn-ea"/>
                <a:cs typeface="Arial"/>
              </a:defRPr>
            </a:lvl1pPr>
            <a:lvl2pPr algn="l" defTabSz="457200" rtl="0" eaLnBrk="1" latinLnBrk="0" hangingPunct="1">
              <a:lnSpc>
                <a:spcPct val="100000"/>
              </a:lnSpc>
              <a:spcBef>
                <a:spcPts val="400"/>
              </a:spcBef>
              <a:defRPr lang="en-US" sz="1200" kern="1200" dirty="0">
                <a:solidFill>
                  <a:srgbClr val="000000"/>
                </a:solidFill>
                <a:latin typeface="Century Gothic" panose="020B0502020202020204" pitchFamily="34" charset="0"/>
                <a:ea typeface="+mn-ea"/>
                <a:cs typeface="Arial"/>
              </a:defRPr>
            </a:lvl2pPr>
            <a:lvl3pPr algn="l" defTabSz="457200" rtl="0" eaLnBrk="1" latinLnBrk="0" hangingPunct="1">
              <a:lnSpc>
                <a:spcPct val="100000"/>
              </a:lnSpc>
              <a:spcBef>
                <a:spcPts val="400"/>
              </a:spcBef>
              <a:defRPr lang="en-US" sz="1200" kern="1200" dirty="0">
                <a:solidFill>
                  <a:srgbClr val="000000"/>
                </a:solidFill>
                <a:latin typeface="Century Gothic" panose="020B0502020202020204" pitchFamily="34" charset="0"/>
                <a:ea typeface="+mn-ea"/>
                <a:cs typeface="Arial"/>
              </a:defRPr>
            </a:lvl3pPr>
            <a:lvl4pPr algn="l" defTabSz="457200" rtl="0" eaLnBrk="1" latinLnBrk="0" hangingPunct="1">
              <a:lnSpc>
                <a:spcPct val="100000"/>
              </a:lnSpc>
              <a:spcBef>
                <a:spcPts val="400"/>
              </a:spcBef>
              <a:defRPr lang="en-US" sz="1200" kern="1200" dirty="0">
                <a:solidFill>
                  <a:srgbClr val="000000"/>
                </a:solidFill>
                <a:latin typeface="Century Gothic" panose="020B0502020202020204" pitchFamily="34" charset="0"/>
                <a:ea typeface="+mn-ea"/>
                <a:cs typeface="Arial"/>
              </a:defRPr>
            </a:lvl4pPr>
            <a:lvl5pPr algn="l" defTabSz="457200" rtl="0" eaLnBrk="1" latinLnBrk="0" hangingPunct="1">
              <a:lnSpc>
                <a:spcPct val="100000"/>
              </a:lnSpc>
              <a:spcBef>
                <a:spcPts val="400"/>
              </a:spcBef>
              <a:defRPr lang="en-US" sz="1200" kern="1200" dirty="0">
                <a:solidFill>
                  <a:srgbClr val="000000"/>
                </a:solidFill>
                <a:latin typeface="Century Gothic" panose="020B0502020202020204" pitchFamily="34" charset="0"/>
                <a:ea typeface="+mn-ea"/>
                <a:cs typeface="Arial"/>
              </a:defRPr>
            </a:lvl5pPr>
            <a:lvl6pPr>
              <a:defRPr sz="1800"/>
            </a:lvl6pPr>
            <a:lvl7pPr>
              <a:defRPr sz="1800"/>
            </a:lvl7pPr>
            <a:lvl8pPr>
              <a:defRPr sz="1800"/>
            </a:lvl8pPr>
            <a:lvl9pPr>
              <a:defRPr sz="18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9" name="Text Placeholder 2">
            <a:extLst>
              <a:ext uri="{FF2B5EF4-FFF2-40B4-BE49-F238E27FC236}">
                <a16:creationId xmlns:a16="http://schemas.microsoft.com/office/drawing/2014/main" id="{EE1A02BF-7908-49B3-B891-0D01B16A1597}"/>
              </a:ext>
            </a:extLst>
          </p:cNvPr>
          <p:cNvSpPr>
            <a:spLocks noGrp="1"/>
          </p:cNvSpPr>
          <p:nvPr>
            <p:ph type="body" idx="15" hasCustomPrompt="1"/>
          </p:nvPr>
        </p:nvSpPr>
        <p:spPr>
          <a:xfrm>
            <a:off x="6297514" y="1580739"/>
            <a:ext cx="5183289" cy="518390"/>
          </a:xfrm>
          <a:prstGeom prst="rect">
            <a:avLst/>
          </a:prstGeom>
        </p:spPr>
        <p:txBody>
          <a:bodyPr anchor="b"/>
          <a:lstStyle>
            <a:lvl1pPr marL="0" indent="0">
              <a:buNone/>
              <a:defRPr sz="1400" b="1">
                <a:solidFill>
                  <a:srgbClr val="5369E5"/>
                </a:solidFill>
              </a:defRPr>
            </a:lvl1pPr>
            <a:lvl2pPr marL="457187" indent="0">
              <a:buNone/>
              <a:defRPr sz="2000" b="1"/>
            </a:lvl2pPr>
            <a:lvl3pPr marL="914373" indent="0">
              <a:buNone/>
              <a:defRPr sz="1800" b="1"/>
            </a:lvl3pPr>
            <a:lvl4pPr marL="1371560" indent="0">
              <a:buNone/>
              <a:defRPr sz="1600" b="1"/>
            </a:lvl4pPr>
            <a:lvl5pPr marL="1828747" indent="0">
              <a:buNone/>
              <a:defRPr sz="1600" b="1"/>
            </a:lvl5pPr>
            <a:lvl6pPr marL="2285933" indent="0">
              <a:buNone/>
              <a:defRPr sz="1600" b="1"/>
            </a:lvl6pPr>
            <a:lvl7pPr marL="2743120" indent="0">
              <a:buNone/>
              <a:defRPr sz="1600" b="1"/>
            </a:lvl7pPr>
            <a:lvl8pPr marL="3200307" indent="0">
              <a:buNone/>
              <a:defRPr sz="1600" b="1"/>
            </a:lvl8pPr>
            <a:lvl9pPr marL="3657494" indent="0">
              <a:buNone/>
              <a:defRPr sz="1600" b="1"/>
            </a:lvl9pPr>
          </a:lstStyle>
          <a:p>
            <a:pPr lvl="0"/>
            <a:r>
              <a:rPr lang="en-US" dirty="0"/>
              <a:t>EDIT MASTER TEXT STYLES</a:t>
            </a:r>
          </a:p>
        </p:txBody>
      </p:sp>
      <p:sp>
        <p:nvSpPr>
          <p:cNvPr id="41" name="TextBox 40">
            <a:extLst>
              <a:ext uri="{FF2B5EF4-FFF2-40B4-BE49-F238E27FC236}">
                <a16:creationId xmlns:a16="http://schemas.microsoft.com/office/drawing/2014/main" id="{84923604-6E71-4DE6-876B-8EB25717607D}"/>
              </a:ext>
            </a:extLst>
          </p:cNvPr>
          <p:cNvSpPr txBox="1"/>
          <p:nvPr userDrawn="1"/>
        </p:nvSpPr>
        <p:spPr>
          <a:xfrm>
            <a:off x="11389543" y="6449585"/>
            <a:ext cx="470781" cy="184666"/>
          </a:xfrm>
          <a:prstGeom prst="rect">
            <a:avLst/>
          </a:prstGeom>
          <a:noFill/>
        </p:spPr>
        <p:txBody>
          <a:bodyPr wrap="square" rtlCol="0">
            <a:spAutoFit/>
          </a:bodyPr>
          <a:lstStyle/>
          <a:p>
            <a:pPr algn="r"/>
            <a:fld id="{F9BF52E7-0EA3-4490-92E3-8B24BB968F96}" type="slidenum">
              <a:rPr lang="en-US" sz="600" smtClean="0">
                <a:solidFill>
                  <a:schemeClr val="accent5"/>
                </a:solidFill>
                <a:latin typeface="Century Gothic" panose="020B0502020202020204" pitchFamily="34" charset="0"/>
              </a:rPr>
              <a:pPr algn="r"/>
              <a:t>‹#›</a:t>
            </a:fld>
            <a:endParaRPr lang="en-US" sz="600" dirty="0">
              <a:solidFill>
                <a:schemeClr val="accent5"/>
              </a:solidFill>
              <a:latin typeface="Century Gothic" panose="020B0502020202020204" pitchFamily="34" charset="0"/>
            </a:endParaRPr>
          </a:p>
        </p:txBody>
      </p:sp>
      <p:sp>
        <p:nvSpPr>
          <p:cNvPr id="42" name="Title 8">
            <a:extLst>
              <a:ext uri="{FF2B5EF4-FFF2-40B4-BE49-F238E27FC236}">
                <a16:creationId xmlns:a16="http://schemas.microsoft.com/office/drawing/2014/main" id="{0954A525-EE12-42C2-A595-2A06146A15BB}"/>
              </a:ext>
            </a:extLst>
          </p:cNvPr>
          <p:cNvSpPr>
            <a:spLocks noGrp="1"/>
          </p:cNvSpPr>
          <p:nvPr>
            <p:ph type="title" hasCustomPrompt="1"/>
          </p:nvPr>
        </p:nvSpPr>
        <p:spPr>
          <a:xfrm>
            <a:off x="743712" y="506994"/>
            <a:ext cx="10708464" cy="934345"/>
          </a:xfrm>
          <a:prstGeom prst="rect">
            <a:avLst/>
          </a:prstGeom>
        </p:spPr>
        <p:txBody>
          <a:bodyPr/>
          <a:lstStyle>
            <a:lvl1pPr marL="0" algn="l" defTabSz="685800" rtl="0" eaLnBrk="1" latinLnBrk="0" hangingPunct="1">
              <a:lnSpc>
                <a:spcPct val="90000"/>
              </a:lnSpc>
              <a:spcBef>
                <a:spcPct val="0"/>
              </a:spcBef>
              <a:buNone/>
              <a:defRPr lang="en-US" sz="2800" b="1" i="0" kern="1200" cap="none" spc="0" baseline="0" dirty="0">
                <a:solidFill>
                  <a:schemeClr val="accent2"/>
                </a:solidFill>
                <a:latin typeface="+mj-lt"/>
                <a:ea typeface="+mj-ea"/>
                <a:cs typeface="+mj-cs"/>
              </a:defRPr>
            </a:lvl1pPr>
          </a:lstStyle>
          <a:p>
            <a:r>
              <a:rPr lang="en-US" dirty="0"/>
              <a:t>Body copy slide template — 2 columns/subhead</a:t>
            </a:r>
          </a:p>
        </p:txBody>
      </p:sp>
      <p:sp>
        <p:nvSpPr>
          <p:cNvPr id="10" name="Text Placeholder 3">
            <a:extLst>
              <a:ext uri="{FF2B5EF4-FFF2-40B4-BE49-F238E27FC236}">
                <a16:creationId xmlns:a16="http://schemas.microsoft.com/office/drawing/2014/main" id="{4A17BB0F-A257-7C4D-941F-6130624FAD2C}"/>
              </a:ext>
            </a:extLst>
          </p:cNvPr>
          <p:cNvSpPr>
            <a:spLocks noGrp="1"/>
          </p:cNvSpPr>
          <p:nvPr>
            <p:ph type="body" sz="quarter" idx="13"/>
          </p:nvPr>
        </p:nvSpPr>
        <p:spPr>
          <a:xfrm>
            <a:off x="873804" y="1058"/>
            <a:ext cx="2536720" cy="253916"/>
          </a:xfrm>
          <a:prstGeom prst="rect">
            <a:avLst/>
          </a:prstGeom>
          <a:solidFill>
            <a:schemeClr val="tx2"/>
          </a:solidFill>
          <a:ln>
            <a:noFill/>
          </a:ln>
        </p:spPr>
        <p:txBody>
          <a:bodyPr wrap="none" lIns="91440" tIns="45720" rIns="91440" bIns="45720" anchor="ctr">
            <a:spAutoFit/>
          </a:bodyPr>
          <a:lstStyle>
            <a:lvl1pPr marL="0" indent="0">
              <a:buNone/>
              <a:defRPr sz="1050" b="1" cap="all" spc="38" baseline="0">
                <a:solidFill>
                  <a:schemeClr val="bg1"/>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891800976"/>
      </p:ext>
    </p:extLst>
  </p:cSld>
  <p:clrMapOvr>
    <a:masterClrMapping/>
  </p:clrMapOvr>
  <p:hf hdr="0" ftr="0" dt="0"/>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olumns Title, Subhead and Content">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1A12051D-1D30-402C-AB94-057807E223C0}"/>
              </a:ext>
            </a:extLst>
          </p:cNvPr>
          <p:cNvCxnSpPr>
            <a:cxnSpLocks/>
          </p:cNvCxnSpPr>
          <p:nvPr userDrawn="1"/>
        </p:nvCxnSpPr>
        <p:spPr>
          <a:xfrm>
            <a:off x="739053" y="2089677"/>
            <a:ext cx="3271000" cy="0"/>
          </a:xfrm>
          <a:prstGeom prst="line">
            <a:avLst/>
          </a:prstGeom>
          <a:ln w="57150">
            <a:solidFill>
              <a:srgbClr val="5369E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393219A-80C3-454D-ACD6-D42CA4FA200D}"/>
              </a:ext>
            </a:extLst>
          </p:cNvPr>
          <p:cNvCxnSpPr>
            <a:cxnSpLocks/>
          </p:cNvCxnSpPr>
          <p:nvPr userDrawn="1"/>
        </p:nvCxnSpPr>
        <p:spPr>
          <a:xfrm>
            <a:off x="4434833" y="2089677"/>
            <a:ext cx="3271000" cy="0"/>
          </a:xfrm>
          <a:prstGeom prst="line">
            <a:avLst/>
          </a:prstGeom>
          <a:ln w="57150">
            <a:solidFill>
              <a:srgbClr val="5369E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25E99B6-3357-43D7-A99F-22ABD39344E4}"/>
              </a:ext>
            </a:extLst>
          </p:cNvPr>
          <p:cNvCxnSpPr>
            <a:cxnSpLocks/>
          </p:cNvCxnSpPr>
          <p:nvPr userDrawn="1"/>
        </p:nvCxnSpPr>
        <p:spPr>
          <a:xfrm>
            <a:off x="8130613" y="2089677"/>
            <a:ext cx="3271000" cy="0"/>
          </a:xfrm>
          <a:prstGeom prst="line">
            <a:avLst/>
          </a:prstGeom>
          <a:ln w="57150">
            <a:solidFill>
              <a:srgbClr val="5369E5"/>
            </a:solidFill>
          </a:ln>
        </p:spPr>
        <p:style>
          <a:lnRef idx="1">
            <a:schemeClr val="accent1"/>
          </a:lnRef>
          <a:fillRef idx="0">
            <a:schemeClr val="accent1"/>
          </a:fillRef>
          <a:effectRef idx="0">
            <a:schemeClr val="accent1"/>
          </a:effectRef>
          <a:fontRef idx="minor">
            <a:schemeClr val="tx1"/>
          </a:fontRef>
        </p:style>
      </p:cxnSp>
      <p:sp>
        <p:nvSpPr>
          <p:cNvPr id="16" name="Subtitle 2">
            <a:extLst>
              <a:ext uri="{FF2B5EF4-FFF2-40B4-BE49-F238E27FC236}">
                <a16:creationId xmlns:a16="http://schemas.microsoft.com/office/drawing/2014/main" id="{F32F8ADC-FC5A-4799-838C-268A4085257D}"/>
              </a:ext>
            </a:extLst>
          </p:cNvPr>
          <p:cNvSpPr>
            <a:spLocks noGrp="1"/>
          </p:cNvSpPr>
          <p:nvPr>
            <p:ph type="subTitle" idx="1"/>
          </p:nvPr>
        </p:nvSpPr>
        <p:spPr>
          <a:xfrm>
            <a:off x="743713" y="1581167"/>
            <a:ext cx="5338335" cy="380487"/>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lang="en-US" sz="1600" b="1" i="0" kern="1200" cap="all" spc="38" baseline="0" dirty="0">
                <a:solidFill>
                  <a:schemeClr val="accent1"/>
                </a:solidFill>
                <a:latin typeface="+mj-lt"/>
                <a:ea typeface="+mn-ea"/>
                <a:cs typeface="+mn-cs"/>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
        <p:nvSpPr>
          <p:cNvPr id="17" name="Content Placeholder 2">
            <a:extLst>
              <a:ext uri="{FF2B5EF4-FFF2-40B4-BE49-F238E27FC236}">
                <a16:creationId xmlns:a16="http://schemas.microsoft.com/office/drawing/2014/main" id="{0967A10A-7F31-4F93-8139-29BEF24C6B9C}"/>
              </a:ext>
            </a:extLst>
          </p:cNvPr>
          <p:cNvSpPr>
            <a:spLocks noGrp="1"/>
          </p:cNvSpPr>
          <p:nvPr>
            <p:ph sz="half" idx="14"/>
          </p:nvPr>
        </p:nvSpPr>
        <p:spPr>
          <a:xfrm>
            <a:off x="743712" y="2236034"/>
            <a:ext cx="3266341" cy="3769311"/>
          </a:xfrm>
        </p:spPr>
        <p:txBody>
          <a:bodyPr/>
          <a:lstStyle>
            <a:lvl1pPr marL="171450" indent="-171450" algn="l" defTabSz="457200" rtl="0" eaLnBrk="1" latinLnBrk="0" hangingPunct="1">
              <a:lnSpc>
                <a:spcPct val="100000"/>
              </a:lnSpc>
              <a:spcBef>
                <a:spcPts val="400"/>
              </a:spcBef>
              <a:defRPr lang="en-US" sz="1200" kern="1200" dirty="0">
                <a:solidFill>
                  <a:srgbClr val="000000"/>
                </a:solidFill>
                <a:latin typeface="Century Gothic" panose="020B0502020202020204" pitchFamily="34" charset="0"/>
                <a:ea typeface="+mn-ea"/>
                <a:cs typeface="Arial"/>
              </a:defRPr>
            </a:lvl1pPr>
            <a:lvl2pPr marL="398463" indent="-222250" algn="l" defTabSz="457200" rtl="0" eaLnBrk="1" latinLnBrk="0" hangingPunct="1">
              <a:lnSpc>
                <a:spcPct val="100000"/>
              </a:lnSpc>
              <a:spcBef>
                <a:spcPts val="400"/>
              </a:spcBef>
              <a:defRPr lang="en-US" sz="1200" kern="1200" dirty="0">
                <a:solidFill>
                  <a:srgbClr val="000000"/>
                </a:solidFill>
                <a:latin typeface="Century Gothic" panose="020B0502020202020204" pitchFamily="34" charset="0"/>
                <a:ea typeface="+mn-ea"/>
                <a:cs typeface="Arial"/>
              </a:defRPr>
            </a:lvl2pPr>
            <a:lvl3pPr marL="625475" indent="-228600" algn="l" defTabSz="457200" rtl="0" eaLnBrk="1" latinLnBrk="0" hangingPunct="1">
              <a:lnSpc>
                <a:spcPct val="100000"/>
              </a:lnSpc>
              <a:spcBef>
                <a:spcPts val="400"/>
              </a:spcBef>
              <a:defRPr lang="en-US" sz="1200" kern="1200" dirty="0">
                <a:solidFill>
                  <a:srgbClr val="000000"/>
                </a:solidFill>
                <a:latin typeface="Century Gothic" panose="020B0502020202020204" pitchFamily="34" charset="0"/>
                <a:ea typeface="+mn-ea"/>
                <a:cs typeface="Arial"/>
              </a:defRPr>
            </a:lvl3pPr>
            <a:lvl4pPr algn="l" defTabSz="457200" rtl="0" eaLnBrk="1" latinLnBrk="0" hangingPunct="1">
              <a:lnSpc>
                <a:spcPct val="100000"/>
              </a:lnSpc>
              <a:spcBef>
                <a:spcPts val="400"/>
              </a:spcBef>
              <a:defRPr lang="en-US" sz="1200" kern="1200" dirty="0">
                <a:solidFill>
                  <a:srgbClr val="000000"/>
                </a:solidFill>
                <a:latin typeface="Century Gothic" panose="020B0502020202020204" pitchFamily="34" charset="0"/>
                <a:ea typeface="+mn-ea"/>
                <a:cs typeface="Arial"/>
              </a:defRPr>
            </a:lvl4pPr>
            <a:lvl5pPr algn="l" defTabSz="457200" rtl="0" eaLnBrk="1" latinLnBrk="0" hangingPunct="1">
              <a:lnSpc>
                <a:spcPct val="100000"/>
              </a:lnSpc>
              <a:spcBef>
                <a:spcPts val="400"/>
              </a:spcBef>
              <a:defRPr lang="en-US" sz="1200" kern="1200" dirty="0">
                <a:solidFill>
                  <a:srgbClr val="000000"/>
                </a:solidFill>
                <a:latin typeface="Century Gothic" panose="020B0502020202020204" pitchFamily="34" charset="0"/>
                <a:ea typeface="+mn-ea"/>
                <a:cs typeface="Arial"/>
              </a:defRPr>
            </a:lvl5pPr>
            <a:lvl6pPr>
              <a:defRPr sz="1800"/>
            </a:lvl6pPr>
            <a:lvl7pPr>
              <a:defRPr sz="1800"/>
            </a:lvl7pPr>
            <a:lvl8pPr>
              <a:defRPr sz="1800"/>
            </a:lvl8pPr>
            <a:lvl9pPr>
              <a:defRPr sz="1800"/>
            </a:lvl9pPr>
          </a:lstStyle>
          <a:p>
            <a:pPr lvl="0"/>
            <a:r>
              <a:rPr lang="en-US" dirty="0"/>
              <a:t>Edit Master text styles</a:t>
            </a:r>
          </a:p>
          <a:p>
            <a:pPr lvl="1"/>
            <a:r>
              <a:rPr lang="en-US" dirty="0"/>
              <a:t>Second level</a:t>
            </a:r>
          </a:p>
          <a:p>
            <a:pPr lvl="2"/>
            <a:r>
              <a:rPr lang="en-US" dirty="0"/>
              <a:t>Third level</a:t>
            </a:r>
          </a:p>
        </p:txBody>
      </p:sp>
      <p:sp>
        <p:nvSpPr>
          <p:cNvPr id="18" name="Content Placeholder 2">
            <a:extLst>
              <a:ext uri="{FF2B5EF4-FFF2-40B4-BE49-F238E27FC236}">
                <a16:creationId xmlns:a16="http://schemas.microsoft.com/office/drawing/2014/main" id="{85735A79-F8B7-44F1-A23E-C5F23908F752}"/>
              </a:ext>
            </a:extLst>
          </p:cNvPr>
          <p:cNvSpPr>
            <a:spLocks noGrp="1"/>
          </p:cNvSpPr>
          <p:nvPr>
            <p:ph sz="half" idx="15"/>
          </p:nvPr>
        </p:nvSpPr>
        <p:spPr>
          <a:xfrm>
            <a:off x="4437163" y="2236034"/>
            <a:ext cx="3266341" cy="3769311"/>
          </a:xfrm>
        </p:spPr>
        <p:txBody>
          <a:bodyPr/>
          <a:lstStyle>
            <a:lvl1pPr marL="171450" indent="-171450" algn="l" defTabSz="457200" rtl="0" eaLnBrk="1" latinLnBrk="0" hangingPunct="1">
              <a:lnSpc>
                <a:spcPct val="100000"/>
              </a:lnSpc>
              <a:spcBef>
                <a:spcPts val="400"/>
              </a:spcBef>
              <a:defRPr lang="en-US" sz="1200" kern="1200" dirty="0">
                <a:solidFill>
                  <a:srgbClr val="000000"/>
                </a:solidFill>
                <a:latin typeface="Century Gothic" panose="020B0502020202020204" pitchFamily="34" charset="0"/>
                <a:ea typeface="+mn-ea"/>
                <a:cs typeface="Arial"/>
              </a:defRPr>
            </a:lvl1pPr>
            <a:lvl2pPr marL="398463" indent="-222250" algn="l" defTabSz="457200" rtl="0" eaLnBrk="1" latinLnBrk="0" hangingPunct="1">
              <a:lnSpc>
                <a:spcPct val="100000"/>
              </a:lnSpc>
              <a:spcBef>
                <a:spcPts val="400"/>
              </a:spcBef>
              <a:defRPr lang="en-US" sz="1200" kern="1200" dirty="0">
                <a:solidFill>
                  <a:srgbClr val="000000"/>
                </a:solidFill>
                <a:latin typeface="Century Gothic" panose="020B0502020202020204" pitchFamily="34" charset="0"/>
                <a:ea typeface="+mn-ea"/>
                <a:cs typeface="Arial"/>
              </a:defRPr>
            </a:lvl2pPr>
            <a:lvl3pPr marL="625475" indent="-228600" algn="l" defTabSz="457200" rtl="0" eaLnBrk="1" latinLnBrk="0" hangingPunct="1">
              <a:lnSpc>
                <a:spcPct val="100000"/>
              </a:lnSpc>
              <a:spcBef>
                <a:spcPts val="400"/>
              </a:spcBef>
              <a:defRPr lang="en-US" sz="1200" kern="1200" dirty="0">
                <a:solidFill>
                  <a:srgbClr val="000000"/>
                </a:solidFill>
                <a:latin typeface="Century Gothic" panose="020B0502020202020204" pitchFamily="34" charset="0"/>
                <a:ea typeface="+mn-ea"/>
                <a:cs typeface="Arial"/>
              </a:defRPr>
            </a:lvl3pPr>
            <a:lvl4pPr algn="l" defTabSz="457200" rtl="0" eaLnBrk="1" latinLnBrk="0" hangingPunct="1">
              <a:lnSpc>
                <a:spcPct val="100000"/>
              </a:lnSpc>
              <a:spcBef>
                <a:spcPts val="400"/>
              </a:spcBef>
              <a:defRPr lang="en-US" sz="1200" kern="1200" dirty="0">
                <a:solidFill>
                  <a:srgbClr val="000000"/>
                </a:solidFill>
                <a:latin typeface="Century Gothic" panose="020B0502020202020204" pitchFamily="34" charset="0"/>
                <a:ea typeface="+mn-ea"/>
                <a:cs typeface="Arial"/>
              </a:defRPr>
            </a:lvl4pPr>
            <a:lvl5pPr algn="l" defTabSz="457200" rtl="0" eaLnBrk="1" latinLnBrk="0" hangingPunct="1">
              <a:lnSpc>
                <a:spcPct val="100000"/>
              </a:lnSpc>
              <a:spcBef>
                <a:spcPts val="400"/>
              </a:spcBef>
              <a:defRPr lang="en-US" sz="1200" kern="1200" dirty="0">
                <a:solidFill>
                  <a:srgbClr val="000000"/>
                </a:solidFill>
                <a:latin typeface="Century Gothic" panose="020B0502020202020204" pitchFamily="34" charset="0"/>
                <a:ea typeface="+mn-ea"/>
                <a:cs typeface="Arial"/>
              </a:defRPr>
            </a:lvl5pPr>
            <a:lvl6pPr>
              <a:defRPr sz="1800"/>
            </a:lvl6pPr>
            <a:lvl7pPr>
              <a:defRPr sz="1800"/>
            </a:lvl7pPr>
            <a:lvl8pPr>
              <a:defRPr sz="1800"/>
            </a:lvl8pPr>
            <a:lvl9pPr>
              <a:defRPr sz="1800"/>
            </a:lvl9pPr>
          </a:lstStyle>
          <a:p>
            <a:pPr lvl="0"/>
            <a:r>
              <a:rPr lang="en-US" dirty="0"/>
              <a:t>Edit Master text styles</a:t>
            </a:r>
          </a:p>
          <a:p>
            <a:pPr lvl="1"/>
            <a:r>
              <a:rPr lang="en-US" dirty="0"/>
              <a:t>Second level</a:t>
            </a:r>
          </a:p>
          <a:p>
            <a:pPr lvl="2"/>
            <a:r>
              <a:rPr lang="en-US" dirty="0"/>
              <a:t>Third level</a:t>
            </a:r>
          </a:p>
        </p:txBody>
      </p:sp>
      <p:sp>
        <p:nvSpPr>
          <p:cNvPr id="19" name="Content Placeholder 2">
            <a:extLst>
              <a:ext uri="{FF2B5EF4-FFF2-40B4-BE49-F238E27FC236}">
                <a16:creationId xmlns:a16="http://schemas.microsoft.com/office/drawing/2014/main" id="{7B0F8024-CEBD-46FA-8D4D-3F58E73857CE}"/>
              </a:ext>
            </a:extLst>
          </p:cNvPr>
          <p:cNvSpPr>
            <a:spLocks noGrp="1"/>
          </p:cNvSpPr>
          <p:nvPr>
            <p:ph sz="half" idx="16"/>
          </p:nvPr>
        </p:nvSpPr>
        <p:spPr>
          <a:xfrm>
            <a:off x="8130614" y="2236034"/>
            <a:ext cx="3266341" cy="3769311"/>
          </a:xfrm>
        </p:spPr>
        <p:txBody>
          <a:bodyPr/>
          <a:lstStyle>
            <a:lvl1pPr marL="171450" indent="-171450" algn="l" defTabSz="457200" rtl="0" eaLnBrk="1" latinLnBrk="0" hangingPunct="1">
              <a:lnSpc>
                <a:spcPct val="100000"/>
              </a:lnSpc>
              <a:spcBef>
                <a:spcPts val="400"/>
              </a:spcBef>
              <a:defRPr lang="en-US" sz="1200" kern="1200" dirty="0">
                <a:solidFill>
                  <a:srgbClr val="000000"/>
                </a:solidFill>
                <a:latin typeface="Century Gothic" panose="020B0502020202020204" pitchFamily="34" charset="0"/>
                <a:ea typeface="+mn-ea"/>
                <a:cs typeface="Arial"/>
              </a:defRPr>
            </a:lvl1pPr>
            <a:lvl2pPr marL="398463" indent="-222250" algn="l" defTabSz="457200" rtl="0" eaLnBrk="1" latinLnBrk="0" hangingPunct="1">
              <a:lnSpc>
                <a:spcPct val="100000"/>
              </a:lnSpc>
              <a:spcBef>
                <a:spcPts val="400"/>
              </a:spcBef>
              <a:defRPr lang="en-US" sz="1200" kern="1200" dirty="0">
                <a:solidFill>
                  <a:srgbClr val="000000"/>
                </a:solidFill>
                <a:latin typeface="Century Gothic" panose="020B0502020202020204" pitchFamily="34" charset="0"/>
                <a:ea typeface="+mn-ea"/>
                <a:cs typeface="Arial"/>
              </a:defRPr>
            </a:lvl2pPr>
            <a:lvl3pPr marL="625475" indent="-228600" algn="l" defTabSz="457200" rtl="0" eaLnBrk="1" latinLnBrk="0" hangingPunct="1">
              <a:lnSpc>
                <a:spcPct val="100000"/>
              </a:lnSpc>
              <a:spcBef>
                <a:spcPts val="400"/>
              </a:spcBef>
              <a:defRPr lang="en-US" sz="1200" kern="1200" dirty="0">
                <a:solidFill>
                  <a:srgbClr val="000000"/>
                </a:solidFill>
                <a:latin typeface="Century Gothic" panose="020B0502020202020204" pitchFamily="34" charset="0"/>
                <a:ea typeface="+mn-ea"/>
                <a:cs typeface="Arial"/>
              </a:defRPr>
            </a:lvl3pPr>
            <a:lvl4pPr algn="l" defTabSz="457200" rtl="0" eaLnBrk="1" latinLnBrk="0" hangingPunct="1">
              <a:lnSpc>
                <a:spcPct val="100000"/>
              </a:lnSpc>
              <a:spcBef>
                <a:spcPts val="400"/>
              </a:spcBef>
              <a:defRPr lang="en-US" sz="1200" kern="1200" dirty="0">
                <a:solidFill>
                  <a:srgbClr val="000000"/>
                </a:solidFill>
                <a:latin typeface="Century Gothic" panose="020B0502020202020204" pitchFamily="34" charset="0"/>
                <a:ea typeface="+mn-ea"/>
                <a:cs typeface="Arial"/>
              </a:defRPr>
            </a:lvl4pPr>
            <a:lvl5pPr algn="l" defTabSz="457200" rtl="0" eaLnBrk="1" latinLnBrk="0" hangingPunct="1">
              <a:lnSpc>
                <a:spcPct val="100000"/>
              </a:lnSpc>
              <a:spcBef>
                <a:spcPts val="400"/>
              </a:spcBef>
              <a:defRPr lang="en-US" sz="1200" kern="1200" dirty="0">
                <a:solidFill>
                  <a:srgbClr val="000000"/>
                </a:solidFill>
                <a:latin typeface="Century Gothic" panose="020B0502020202020204" pitchFamily="34" charset="0"/>
                <a:ea typeface="+mn-ea"/>
                <a:cs typeface="Arial"/>
              </a:defRPr>
            </a:lvl5pPr>
            <a:lvl6pPr>
              <a:defRPr sz="1800"/>
            </a:lvl6pPr>
            <a:lvl7pPr>
              <a:defRPr sz="1800"/>
            </a:lvl7pPr>
            <a:lvl8pPr>
              <a:defRPr sz="1800"/>
            </a:lvl8pPr>
            <a:lvl9pPr>
              <a:defRPr sz="1800"/>
            </a:lvl9pPr>
          </a:lstStyle>
          <a:p>
            <a:pPr lvl="0"/>
            <a:r>
              <a:rPr lang="en-US" dirty="0"/>
              <a:t>Edit Master text styles</a:t>
            </a:r>
          </a:p>
          <a:p>
            <a:pPr lvl="1"/>
            <a:r>
              <a:rPr lang="en-US" dirty="0"/>
              <a:t>Second level</a:t>
            </a:r>
          </a:p>
          <a:p>
            <a:pPr lvl="2"/>
            <a:r>
              <a:rPr lang="en-US" dirty="0"/>
              <a:t>Third level</a:t>
            </a:r>
          </a:p>
        </p:txBody>
      </p:sp>
      <p:sp>
        <p:nvSpPr>
          <p:cNvPr id="20" name="TextBox 19">
            <a:extLst>
              <a:ext uri="{FF2B5EF4-FFF2-40B4-BE49-F238E27FC236}">
                <a16:creationId xmlns:a16="http://schemas.microsoft.com/office/drawing/2014/main" id="{A7D5A99D-6D39-4775-9B5E-810D42EC279D}"/>
              </a:ext>
            </a:extLst>
          </p:cNvPr>
          <p:cNvSpPr txBox="1"/>
          <p:nvPr userDrawn="1"/>
        </p:nvSpPr>
        <p:spPr>
          <a:xfrm>
            <a:off x="11389543" y="6449585"/>
            <a:ext cx="470781" cy="184666"/>
          </a:xfrm>
          <a:prstGeom prst="rect">
            <a:avLst/>
          </a:prstGeom>
          <a:noFill/>
        </p:spPr>
        <p:txBody>
          <a:bodyPr wrap="square" rtlCol="0">
            <a:spAutoFit/>
          </a:bodyPr>
          <a:lstStyle/>
          <a:p>
            <a:pPr algn="r"/>
            <a:fld id="{F9BF52E7-0EA3-4490-92E3-8B24BB968F96}" type="slidenum">
              <a:rPr lang="en-US" sz="600" smtClean="0">
                <a:solidFill>
                  <a:schemeClr val="accent5"/>
                </a:solidFill>
                <a:latin typeface="Century Gothic" panose="020B0502020202020204" pitchFamily="34" charset="0"/>
              </a:rPr>
              <a:pPr algn="r"/>
              <a:t>‹#›</a:t>
            </a:fld>
            <a:endParaRPr lang="en-US" sz="600" dirty="0">
              <a:solidFill>
                <a:schemeClr val="accent5"/>
              </a:solidFill>
              <a:latin typeface="Century Gothic" panose="020B0502020202020204" pitchFamily="34" charset="0"/>
            </a:endParaRPr>
          </a:p>
        </p:txBody>
      </p:sp>
      <p:sp>
        <p:nvSpPr>
          <p:cNvPr id="21" name="Title 8">
            <a:extLst>
              <a:ext uri="{FF2B5EF4-FFF2-40B4-BE49-F238E27FC236}">
                <a16:creationId xmlns:a16="http://schemas.microsoft.com/office/drawing/2014/main" id="{7712D66C-756E-4BEB-B250-784EEE6DBD48}"/>
              </a:ext>
            </a:extLst>
          </p:cNvPr>
          <p:cNvSpPr>
            <a:spLocks noGrp="1"/>
          </p:cNvSpPr>
          <p:nvPr>
            <p:ph type="title" hasCustomPrompt="1"/>
          </p:nvPr>
        </p:nvSpPr>
        <p:spPr>
          <a:xfrm>
            <a:off x="743712" y="506994"/>
            <a:ext cx="10708464" cy="934345"/>
          </a:xfrm>
          <a:prstGeom prst="rect">
            <a:avLst/>
          </a:prstGeom>
        </p:spPr>
        <p:txBody>
          <a:bodyPr/>
          <a:lstStyle>
            <a:lvl1pPr marL="0" algn="l" defTabSz="685800" rtl="0" eaLnBrk="1" latinLnBrk="0" hangingPunct="1">
              <a:lnSpc>
                <a:spcPct val="90000"/>
              </a:lnSpc>
              <a:spcBef>
                <a:spcPct val="0"/>
              </a:spcBef>
              <a:buNone/>
              <a:defRPr lang="en-US" sz="2800" b="1" i="0" kern="1200" cap="none" spc="0" baseline="0" dirty="0">
                <a:solidFill>
                  <a:schemeClr val="accent2"/>
                </a:solidFill>
                <a:latin typeface="+mj-lt"/>
                <a:ea typeface="+mj-ea"/>
                <a:cs typeface="+mj-cs"/>
              </a:defRPr>
            </a:lvl1pPr>
          </a:lstStyle>
          <a:p>
            <a:r>
              <a:rPr lang="en-US" dirty="0"/>
              <a:t>Body copy slide template — 3 columns/subhead</a:t>
            </a:r>
          </a:p>
        </p:txBody>
      </p:sp>
      <p:sp>
        <p:nvSpPr>
          <p:cNvPr id="24" name="Text Placeholder 3">
            <a:extLst>
              <a:ext uri="{FF2B5EF4-FFF2-40B4-BE49-F238E27FC236}">
                <a16:creationId xmlns:a16="http://schemas.microsoft.com/office/drawing/2014/main" id="{9741371E-C6E5-5B43-9F7E-0229AFF9B3D4}"/>
              </a:ext>
            </a:extLst>
          </p:cNvPr>
          <p:cNvSpPr>
            <a:spLocks noGrp="1"/>
          </p:cNvSpPr>
          <p:nvPr>
            <p:ph type="body" sz="quarter" idx="13"/>
          </p:nvPr>
        </p:nvSpPr>
        <p:spPr>
          <a:xfrm>
            <a:off x="873804" y="1058"/>
            <a:ext cx="2536720" cy="253916"/>
          </a:xfrm>
          <a:prstGeom prst="rect">
            <a:avLst/>
          </a:prstGeom>
          <a:solidFill>
            <a:schemeClr val="tx2"/>
          </a:solidFill>
          <a:ln>
            <a:noFill/>
          </a:ln>
        </p:spPr>
        <p:txBody>
          <a:bodyPr wrap="none" lIns="91440" tIns="45720" rIns="91440" bIns="45720" anchor="ctr">
            <a:spAutoFit/>
          </a:bodyPr>
          <a:lstStyle>
            <a:lvl1pPr marL="0" indent="0">
              <a:buNone/>
              <a:defRPr sz="1050" b="1" cap="all" spc="38" baseline="0">
                <a:solidFill>
                  <a:schemeClr val="bg1"/>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3134191066"/>
      </p:ext>
    </p:extLst>
  </p:cSld>
  <p:clrMapOvr>
    <a:masterClrMapping/>
  </p:clrMapOvr>
  <p:hf hdr="0" ftr="0" dt="0"/>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3" name="Title 8">
            <a:extLst>
              <a:ext uri="{FF2B5EF4-FFF2-40B4-BE49-F238E27FC236}">
                <a16:creationId xmlns:a16="http://schemas.microsoft.com/office/drawing/2014/main" id="{8B3F9C8D-97AD-4912-8D65-A2590889BF9C}"/>
              </a:ext>
            </a:extLst>
          </p:cNvPr>
          <p:cNvSpPr txBox="1">
            <a:spLocks/>
          </p:cNvSpPr>
          <p:nvPr userDrawn="1"/>
        </p:nvSpPr>
        <p:spPr>
          <a:xfrm>
            <a:off x="594813" y="452778"/>
            <a:ext cx="6854203" cy="600787"/>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800" b="1" i="0" kern="1200" cap="none" spc="0" baseline="0">
                <a:solidFill>
                  <a:schemeClr val="accent3"/>
                </a:solidFill>
                <a:latin typeface="+mj-lt"/>
                <a:ea typeface="+mj-ea"/>
                <a:cs typeface="Arial"/>
              </a:defRPr>
            </a:lvl1pPr>
          </a:lstStyle>
          <a:p>
            <a:r>
              <a:rPr lang="en-US" sz="2800" dirty="0">
                <a:solidFill>
                  <a:srgbClr val="000000"/>
                </a:solidFill>
              </a:rPr>
              <a:t>Reference template</a:t>
            </a:r>
          </a:p>
        </p:txBody>
      </p:sp>
      <p:sp>
        <p:nvSpPr>
          <p:cNvPr id="4" name="Content Placeholder 49">
            <a:extLst>
              <a:ext uri="{FF2B5EF4-FFF2-40B4-BE49-F238E27FC236}">
                <a16:creationId xmlns:a16="http://schemas.microsoft.com/office/drawing/2014/main" id="{3A227C25-3FB7-4FDD-B6DC-541F4182C140}"/>
              </a:ext>
            </a:extLst>
          </p:cNvPr>
          <p:cNvSpPr>
            <a:spLocks noGrp="1"/>
          </p:cNvSpPr>
          <p:nvPr>
            <p:ph sz="quarter" idx="11" hasCustomPrompt="1"/>
          </p:nvPr>
        </p:nvSpPr>
        <p:spPr>
          <a:xfrm>
            <a:off x="594813" y="1190832"/>
            <a:ext cx="10952753" cy="600787"/>
          </a:xfrm>
          <a:prstGeom prst="rect">
            <a:avLst/>
          </a:prstGeom>
        </p:spPr>
        <p:txBody>
          <a:bodyPr numCol="2"/>
          <a:lstStyle>
            <a:lvl1pPr marL="174625" indent="-174625">
              <a:lnSpc>
                <a:spcPct val="90000"/>
              </a:lnSpc>
              <a:spcBef>
                <a:spcPts val="800"/>
              </a:spcBef>
              <a:buFont typeface="+mj-lt"/>
              <a:buAutoNum type="arabicPeriod"/>
              <a:tabLst/>
              <a:defRPr sz="900"/>
            </a:lvl1pPr>
            <a:lvl2pPr marL="8335" indent="0">
              <a:lnSpc>
                <a:spcPct val="110000"/>
              </a:lnSpc>
              <a:spcBef>
                <a:spcPts val="400"/>
              </a:spcBef>
              <a:buNone/>
              <a:tabLst/>
              <a:defRPr sz="1300"/>
            </a:lvl2pPr>
            <a:lvl3pPr marL="172641" indent="-164306">
              <a:lnSpc>
                <a:spcPct val="110000"/>
              </a:lnSpc>
              <a:spcBef>
                <a:spcPts val="400"/>
              </a:spcBef>
              <a:spcAft>
                <a:spcPts val="0"/>
              </a:spcAft>
              <a:buFont typeface="System Font Regular"/>
              <a:buChar char="–"/>
              <a:tabLst/>
              <a:defRPr sz="1300"/>
            </a:lvl3pPr>
            <a:lvl4pPr marL="257175" indent="-132160">
              <a:lnSpc>
                <a:spcPct val="110000"/>
              </a:lnSpc>
              <a:spcBef>
                <a:spcPts val="400"/>
              </a:spcBef>
              <a:buFont typeface="System Font Regular"/>
              <a:buChar char="+"/>
              <a:tabLst/>
              <a:defRPr sz="1300"/>
            </a:lvl4pPr>
            <a:lvl5pPr marL="431006" indent="-132160">
              <a:lnSpc>
                <a:spcPct val="110000"/>
              </a:lnSpc>
              <a:spcBef>
                <a:spcPts val="400"/>
              </a:spcBef>
              <a:buFont typeface="System Font Regular"/>
              <a:buChar char="–"/>
              <a:tabLst/>
              <a:defRPr sz="1300"/>
            </a:lvl5pPr>
          </a:lstStyle>
          <a:p>
            <a:pPr lvl="0"/>
            <a:r>
              <a:rPr lang="en-US" dirty="0"/>
              <a:t>Reference one</a:t>
            </a:r>
          </a:p>
          <a:p>
            <a:pPr lvl="0"/>
            <a:r>
              <a:rPr lang="en-US" dirty="0"/>
              <a:t>Reference two</a:t>
            </a:r>
          </a:p>
          <a:p>
            <a:pPr lvl="0"/>
            <a:r>
              <a:rPr lang="en-US" dirty="0"/>
              <a:t>Reference three</a:t>
            </a:r>
          </a:p>
          <a:p>
            <a:pPr lvl="0"/>
            <a:r>
              <a:rPr lang="en-US" dirty="0"/>
              <a:t>Reference four</a:t>
            </a:r>
          </a:p>
        </p:txBody>
      </p:sp>
      <p:sp>
        <p:nvSpPr>
          <p:cNvPr id="12" name="TextBox 11">
            <a:extLst>
              <a:ext uri="{FF2B5EF4-FFF2-40B4-BE49-F238E27FC236}">
                <a16:creationId xmlns:a16="http://schemas.microsoft.com/office/drawing/2014/main" id="{39A2603F-0596-4687-B743-7998173FFA2D}"/>
              </a:ext>
            </a:extLst>
          </p:cNvPr>
          <p:cNvSpPr txBox="1"/>
          <p:nvPr userDrawn="1"/>
        </p:nvSpPr>
        <p:spPr>
          <a:xfrm>
            <a:off x="11389543" y="6449585"/>
            <a:ext cx="470781" cy="184666"/>
          </a:xfrm>
          <a:prstGeom prst="rect">
            <a:avLst/>
          </a:prstGeom>
          <a:noFill/>
        </p:spPr>
        <p:txBody>
          <a:bodyPr wrap="square" rtlCol="0">
            <a:spAutoFit/>
          </a:bodyPr>
          <a:lstStyle/>
          <a:p>
            <a:pPr algn="r"/>
            <a:fld id="{F9BF52E7-0EA3-4490-92E3-8B24BB968F96}" type="slidenum">
              <a:rPr lang="en-US" sz="600" smtClean="0">
                <a:solidFill>
                  <a:schemeClr val="accent5"/>
                </a:solidFill>
                <a:latin typeface="Century Gothic" panose="020B0502020202020204" pitchFamily="34" charset="0"/>
              </a:rPr>
              <a:pPr algn="r"/>
              <a:t>‹#›</a:t>
            </a:fld>
            <a:endParaRPr lang="en-US" sz="600" dirty="0">
              <a:solidFill>
                <a:schemeClr val="accent5"/>
              </a:solidFill>
              <a:latin typeface="Century Gothic" panose="020B0502020202020204" pitchFamily="34" charset="0"/>
            </a:endParaRPr>
          </a:p>
        </p:txBody>
      </p:sp>
    </p:spTree>
    <p:extLst>
      <p:ext uri="{BB962C8B-B14F-4D97-AF65-F5344CB8AC3E}">
        <p14:creationId xmlns:p14="http://schemas.microsoft.com/office/powerpoint/2010/main" val="29274644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nly Logo and Page Number">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5CE391E5-99DE-4778-9469-523ADE918E5A}"/>
              </a:ext>
            </a:extLst>
          </p:cNvPr>
          <p:cNvSpPr txBox="1"/>
          <p:nvPr userDrawn="1"/>
        </p:nvSpPr>
        <p:spPr>
          <a:xfrm>
            <a:off x="11389543" y="6449585"/>
            <a:ext cx="470781" cy="184666"/>
          </a:xfrm>
          <a:prstGeom prst="rect">
            <a:avLst/>
          </a:prstGeom>
          <a:noFill/>
        </p:spPr>
        <p:txBody>
          <a:bodyPr wrap="square" rtlCol="0">
            <a:spAutoFit/>
          </a:bodyPr>
          <a:lstStyle/>
          <a:p>
            <a:pPr algn="r"/>
            <a:fld id="{F9BF52E7-0EA3-4490-92E3-8B24BB968F96}" type="slidenum">
              <a:rPr lang="en-US" sz="600" smtClean="0">
                <a:solidFill>
                  <a:schemeClr val="accent5"/>
                </a:solidFill>
                <a:latin typeface="Century Gothic" panose="020B0502020202020204" pitchFamily="34" charset="0"/>
              </a:rPr>
              <a:pPr algn="r"/>
              <a:t>‹#›</a:t>
            </a:fld>
            <a:endParaRPr lang="en-US" sz="600" dirty="0">
              <a:solidFill>
                <a:schemeClr val="accent5"/>
              </a:solidFill>
              <a:latin typeface="Century Gothic" panose="020B0502020202020204" pitchFamily="34" charset="0"/>
            </a:endParaRPr>
          </a:p>
        </p:txBody>
      </p:sp>
    </p:spTree>
    <p:extLst>
      <p:ext uri="{BB962C8B-B14F-4D97-AF65-F5344CB8AC3E}">
        <p14:creationId xmlns:p14="http://schemas.microsoft.com/office/powerpoint/2010/main" val="30925765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8" name="Picture 7" descr="PowerPoint-Slides.ai"/>
          <p:cNvPicPr>
            <a:picLocks/>
          </p:cNvPicPr>
          <p:nvPr userDrawn="1"/>
        </p:nvPicPr>
        <p:blipFill rotWithShape="1">
          <a:blip r:embed="rId2">
            <a:extLst>
              <a:ext uri="{28A0092B-C50C-407E-A947-70E740481C1C}">
                <a14:useLocalDpi xmlns:a14="http://schemas.microsoft.com/office/drawing/2010/main" val="0"/>
              </a:ext>
            </a:extLst>
          </a:blip>
          <a:srcRect l="1004" r="4932" b="11483"/>
          <a:stretch/>
        </p:blipFill>
        <p:spPr>
          <a:xfrm>
            <a:off x="0" y="0"/>
            <a:ext cx="12204192" cy="6146222"/>
          </a:xfrm>
          <a:prstGeom prst="rect">
            <a:avLst/>
          </a:prstGeom>
        </p:spPr>
      </p:pic>
      <p:sp>
        <p:nvSpPr>
          <p:cNvPr id="2" name="Title 1"/>
          <p:cNvSpPr>
            <a:spLocks noGrp="1"/>
          </p:cNvSpPr>
          <p:nvPr>
            <p:ph type="ctrTitle"/>
          </p:nvPr>
        </p:nvSpPr>
        <p:spPr>
          <a:xfrm>
            <a:off x="914400" y="1002831"/>
            <a:ext cx="8066539" cy="2398183"/>
          </a:xfrm>
        </p:spPr>
        <p:txBody>
          <a:bodyPr anchor="b" anchorCtr="0">
            <a:noAutofit/>
          </a:bodyPr>
          <a:lstStyle>
            <a:lvl1pPr>
              <a:lnSpc>
                <a:spcPct val="90000"/>
              </a:lnSpc>
              <a:defRPr sz="4400">
                <a:solidFill>
                  <a:srgbClr val="FFFFFF"/>
                </a:solidFill>
              </a:defRPr>
            </a:lvl1pPr>
          </a:lstStyle>
          <a:p>
            <a:r>
              <a:rPr lang="en-US" dirty="0"/>
              <a:t>Click to edit Master title style</a:t>
            </a:r>
          </a:p>
        </p:txBody>
      </p:sp>
      <p:sp>
        <p:nvSpPr>
          <p:cNvPr id="3" name="Subtitle 2"/>
          <p:cNvSpPr>
            <a:spLocks noGrp="1"/>
          </p:cNvSpPr>
          <p:nvPr>
            <p:ph type="subTitle" idx="1"/>
          </p:nvPr>
        </p:nvSpPr>
        <p:spPr>
          <a:xfrm>
            <a:off x="914401" y="3674537"/>
            <a:ext cx="4357511" cy="1905000"/>
          </a:xfrm>
        </p:spPr>
        <p:txBody>
          <a:bodyPr>
            <a:noAutofit/>
          </a:bodyPr>
          <a:lstStyle>
            <a:lvl1pPr marL="0" indent="0" algn="l">
              <a:lnSpc>
                <a:spcPct val="100000"/>
              </a:lnSpc>
              <a:buNone/>
              <a:defRPr sz="2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5" name="Date Placeholder 3">
            <a:extLst>
              <a:ext uri="{FF2B5EF4-FFF2-40B4-BE49-F238E27FC236}">
                <a16:creationId xmlns:a16="http://schemas.microsoft.com/office/drawing/2014/main" id="{51C12322-71CD-401A-9256-24D1F75898B1}"/>
              </a:ext>
            </a:extLst>
          </p:cNvPr>
          <p:cNvSpPr txBox="1">
            <a:spLocks/>
          </p:cNvSpPr>
          <p:nvPr userDrawn="1"/>
        </p:nvSpPr>
        <p:spPr>
          <a:xfrm>
            <a:off x="259472" y="6230444"/>
            <a:ext cx="3938797" cy="452548"/>
          </a:xfrm>
          <a:prstGeom prst="rect">
            <a:avLst/>
          </a:prstGeom>
        </p:spPr>
        <p:txBody>
          <a:bodyPr vert="horz" lIns="0" tIns="0" rIns="0" bIns="0" rtlCol="0" anchor="b" anchorCtr="0"/>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Aft>
                <a:spcPts val="600"/>
              </a:spcAft>
            </a:pPr>
            <a:r>
              <a:rPr lang="en-US" sz="700" b="1" dirty="0">
                <a:solidFill>
                  <a:srgbClr val="000000"/>
                </a:solidFill>
                <a:latin typeface="+mn-lt"/>
                <a:cs typeface="Arial"/>
              </a:rPr>
              <a:t>Page </a:t>
            </a:r>
            <a:fld id="{A521FBC1-CF28-4865-8484-78350ADBC729}" type="slidenum">
              <a:rPr lang="en-US" sz="700" b="1" smtClean="0">
                <a:solidFill>
                  <a:srgbClr val="000000"/>
                </a:solidFill>
                <a:latin typeface="+mn-lt"/>
                <a:cs typeface="Arial"/>
              </a:rPr>
              <a:pPr>
                <a:spcAft>
                  <a:spcPts val="600"/>
                </a:spcAft>
              </a:pPr>
              <a:t>‹#›</a:t>
            </a:fld>
            <a:endParaRPr lang="en-US" sz="700" b="1" dirty="0">
              <a:solidFill>
                <a:srgbClr val="000000"/>
              </a:solidFill>
              <a:latin typeface="+mn-lt"/>
              <a:cs typeface="Arial"/>
            </a:endParaRPr>
          </a:p>
          <a:p>
            <a:r>
              <a:rPr lang="en-US" sz="700" dirty="0">
                <a:solidFill>
                  <a:srgbClr val="000000"/>
                </a:solidFill>
                <a:latin typeface="+mn-lt"/>
                <a:cs typeface="Arial"/>
              </a:rPr>
              <a:t>© 2017 Hill-Rom Services, Inc. ALL RIGHTS RESERVED</a:t>
            </a:r>
          </a:p>
        </p:txBody>
      </p:sp>
    </p:spTree>
    <p:extLst>
      <p:ext uri="{BB962C8B-B14F-4D97-AF65-F5344CB8AC3E}">
        <p14:creationId xmlns:p14="http://schemas.microsoft.com/office/powerpoint/2010/main" val="6213704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55448"/>
            <a:ext cx="10972800" cy="1252728"/>
          </a:xfrm>
        </p:spPr>
        <p:txBody>
          <a:bodyPr/>
          <a:lstStyle/>
          <a:p>
            <a:r>
              <a:rPr kumimoji="0" lang="en-US"/>
              <a:t>Click to edit Master title style</a:t>
            </a:r>
          </a:p>
        </p:txBody>
      </p:sp>
      <p:sp>
        <p:nvSpPr>
          <p:cNvPr id="3" name="Content Placeholder 2"/>
          <p:cNvSpPr>
            <a:spLocks noGrp="1"/>
          </p:cNvSpPr>
          <p:nvPr>
            <p:ph idx="1"/>
          </p:nvPr>
        </p:nvSpPr>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968505FD-053B-47C4-B9BE-A64CC0824E06}" type="datetimeFigureOut">
              <a:rPr lang="en-US" smtClean="0">
                <a:solidFill>
                  <a:prstClr val="black">
                    <a:tint val="95000"/>
                  </a:prstClr>
                </a:solidFill>
                <a:latin typeface="Corbel"/>
              </a:rPr>
              <a:pPr/>
              <a:t>10/14/2019</a:t>
            </a:fld>
            <a:endParaRPr lang="en-US">
              <a:solidFill>
                <a:prstClr val="black">
                  <a:tint val="95000"/>
                </a:prstClr>
              </a:solidFill>
              <a:latin typeface="Corbel"/>
            </a:endParaRPr>
          </a:p>
        </p:txBody>
      </p:sp>
      <p:sp>
        <p:nvSpPr>
          <p:cNvPr id="5" name="Footer Placeholder 4"/>
          <p:cNvSpPr>
            <a:spLocks noGrp="1"/>
          </p:cNvSpPr>
          <p:nvPr>
            <p:ph type="ftr" sz="quarter" idx="11"/>
          </p:nvPr>
        </p:nvSpPr>
        <p:spPr/>
        <p:txBody>
          <a:bodyPr/>
          <a:lstStyle/>
          <a:p>
            <a:endParaRPr lang="en-US">
              <a:solidFill>
                <a:prstClr val="black">
                  <a:tint val="95000"/>
                </a:prstClr>
              </a:solidFill>
              <a:latin typeface="Corbel"/>
            </a:endParaRPr>
          </a:p>
        </p:txBody>
      </p:sp>
      <p:sp>
        <p:nvSpPr>
          <p:cNvPr id="6" name="Slide Number Placeholder 5"/>
          <p:cNvSpPr>
            <a:spLocks noGrp="1"/>
          </p:cNvSpPr>
          <p:nvPr>
            <p:ph type="sldNum" sz="quarter" idx="12"/>
          </p:nvPr>
        </p:nvSpPr>
        <p:spPr/>
        <p:txBody>
          <a:bodyPr/>
          <a:lstStyle/>
          <a:p>
            <a:fld id="{5CA8C7E4-D10A-4A6B-806E-F5DCAF195BAA}" type="slidenum">
              <a:rPr lang="en-US" smtClean="0">
                <a:solidFill>
                  <a:prstClr val="black">
                    <a:tint val="95000"/>
                  </a:prstClr>
                </a:solidFill>
                <a:latin typeface="Corbel"/>
              </a:rPr>
              <a:pPr/>
              <a:t>‹#›</a:t>
            </a:fld>
            <a:endParaRPr lang="en-US">
              <a:solidFill>
                <a:prstClr val="black">
                  <a:tint val="95000"/>
                </a:prstClr>
              </a:solidFill>
              <a:latin typeface="Corbel"/>
            </a:endParaRPr>
          </a:p>
        </p:txBody>
      </p:sp>
    </p:spTree>
    <p:extLst>
      <p:ext uri="{BB962C8B-B14F-4D97-AF65-F5344CB8AC3E}">
        <p14:creationId xmlns:p14="http://schemas.microsoft.com/office/powerpoint/2010/main" val="4060808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pic>
        <p:nvPicPr>
          <p:cNvPr id="8" name="Picture 7" descr="PowerPoint-Slides.ai"/>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76602"/>
            <a:ext cx="7501467" cy="990600"/>
          </a:xfrm>
          <a:prstGeom prst="rect">
            <a:avLst/>
          </a:prstGeom>
        </p:spPr>
      </p:pic>
      <p:sp>
        <p:nvSpPr>
          <p:cNvPr id="9" name="Date Placeholder 3"/>
          <p:cNvSpPr txBox="1">
            <a:spLocks/>
          </p:cNvSpPr>
          <p:nvPr userDrawn="1"/>
        </p:nvSpPr>
        <p:spPr>
          <a:xfrm>
            <a:off x="259472" y="6230444"/>
            <a:ext cx="3938797" cy="452548"/>
          </a:xfrm>
          <a:prstGeom prst="rect">
            <a:avLst/>
          </a:prstGeom>
        </p:spPr>
        <p:txBody>
          <a:bodyPr vert="horz" lIns="0" tIns="0" rIns="0" bIns="0" rtlCol="0" anchor="b" anchorCtr="0"/>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Aft>
                <a:spcPts val="600"/>
              </a:spcAft>
            </a:pPr>
            <a:r>
              <a:rPr lang="en-US" sz="700" b="1" dirty="0">
                <a:solidFill>
                  <a:schemeClr val="bg1"/>
                </a:solidFill>
                <a:latin typeface="+mn-lt"/>
                <a:cs typeface="Arial"/>
              </a:rPr>
              <a:t>Page </a:t>
            </a:r>
            <a:fld id="{A521FBC1-CF28-4865-8484-78350ADBC729}" type="slidenum">
              <a:rPr lang="en-US" sz="700" b="1" smtClean="0">
                <a:solidFill>
                  <a:schemeClr val="bg1"/>
                </a:solidFill>
                <a:latin typeface="+mn-lt"/>
                <a:cs typeface="Arial"/>
              </a:rPr>
              <a:pPr>
                <a:spcAft>
                  <a:spcPts val="600"/>
                </a:spcAft>
              </a:pPr>
              <a:t>‹#›</a:t>
            </a:fld>
            <a:endParaRPr lang="en-US" sz="700" b="1" dirty="0">
              <a:solidFill>
                <a:schemeClr val="bg1"/>
              </a:solidFill>
              <a:latin typeface="+mn-lt"/>
              <a:cs typeface="Arial"/>
            </a:endParaRPr>
          </a:p>
          <a:p>
            <a:r>
              <a:rPr lang="en-US" sz="700" dirty="0">
                <a:solidFill>
                  <a:schemeClr val="bg1"/>
                </a:solidFill>
                <a:latin typeface="+mn-lt"/>
                <a:cs typeface="Arial"/>
              </a:rPr>
              <a:t>© 2017 Hill-Rom Services, Inc. ALL RIGHTS RESERVED</a:t>
            </a:r>
          </a:p>
        </p:txBody>
      </p:sp>
    </p:spTree>
    <p:extLst>
      <p:ext uri="{BB962C8B-B14F-4D97-AF65-F5344CB8AC3E}">
        <p14:creationId xmlns:p14="http://schemas.microsoft.com/office/powerpoint/2010/main" val="34605759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Body - 1 Column / Subhead">
    <p:spTree>
      <p:nvGrpSpPr>
        <p:cNvPr id="1" name=""/>
        <p:cNvGrpSpPr/>
        <p:nvPr/>
      </p:nvGrpSpPr>
      <p:grpSpPr>
        <a:xfrm>
          <a:off x="0" y="0"/>
          <a:ext cx="0" cy="0"/>
          <a:chOff x="0" y="0"/>
          <a:chExt cx="0" cy="0"/>
        </a:xfrm>
      </p:grpSpPr>
      <p:sp>
        <p:nvSpPr>
          <p:cNvPr id="22" name="Subtitle 2">
            <a:extLst>
              <a:ext uri="{FF2B5EF4-FFF2-40B4-BE49-F238E27FC236}">
                <a16:creationId xmlns:a16="http://schemas.microsoft.com/office/drawing/2014/main" id="{9F84C77A-3DC9-2F4C-A519-EFB70BE649A9}"/>
              </a:ext>
            </a:extLst>
          </p:cNvPr>
          <p:cNvSpPr>
            <a:spLocks noGrp="1"/>
          </p:cNvSpPr>
          <p:nvPr>
            <p:ph type="subTitle" idx="1"/>
          </p:nvPr>
        </p:nvSpPr>
        <p:spPr>
          <a:xfrm>
            <a:off x="743712" y="1700787"/>
            <a:ext cx="10708464" cy="380487"/>
          </a:xfrm>
          <a:prstGeom prst="rect">
            <a:avLst/>
          </a:prstGeom>
        </p:spPr>
        <p:txBody>
          <a:bodyPr/>
          <a:lstStyle>
            <a:lvl1pPr marL="0" indent="0" algn="l" defTabSz="514337" rtl="0" eaLnBrk="1" latinLnBrk="0" hangingPunct="1">
              <a:lnSpc>
                <a:spcPct val="90000"/>
              </a:lnSpc>
              <a:spcBef>
                <a:spcPts val="563"/>
              </a:spcBef>
              <a:buFont typeface="Arial" panose="020B0604020202020204" pitchFamily="34" charset="0"/>
              <a:buNone/>
              <a:defRPr lang="en-US" sz="1200" b="1" i="0" kern="1200" cap="all" spc="28" baseline="0" dirty="0">
                <a:solidFill>
                  <a:schemeClr val="accent1"/>
                </a:solidFill>
                <a:latin typeface="+mj-lt"/>
                <a:ea typeface="+mn-ea"/>
                <a:cs typeface="+mn-cs"/>
              </a:defRPr>
            </a:lvl1pPr>
            <a:lvl2pPr marL="257168" indent="0" algn="ctr">
              <a:buNone/>
              <a:defRPr sz="1125"/>
            </a:lvl2pPr>
            <a:lvl3pPr marL="514337" indent="0" algn="ctr">
              <a:buNone/>
              <a:defRPr sz="1013"/>
            </a:lvl3pPr>
            <a:lvl4pPr marL="771506" indent="0" algn="ctr">
              <a:buNone/>
              <a:defRPr sz="900"/>
            </a:lvl4pPr>
            <a:lvl5pPr marL="1028675" indent="0" algn="ctr">
              <a:buNone/>
              <a:defRPr sz="900"/>
            </a:lvl5pPr>
            <a:lvl6pPr marL="1285843" indent="0" algn="ctr">
              <a:buNone/>
              <a:defRPr sz="900"/>
            </a:lvl6pPr>
            <a:lvl7pPr marL="1543012" indent="0" algn="ctr">
              <a:buNone/>
              <a:defRPr sz="900"/>
            </a:lvl7pPr>
            <a:lvl8pPr marL="1800180" indent="0" algn="ctr">
              <a:buNone/>
              <a:defRPr sz="900"/>
            </a:lvl8pPr>
            <a:lvl9pPr marL="2057348" indent="0" algn="ctr">
              <a:buNone/>
              <a:defRPr sz="900"/>
            </a:lvl9pPr>
          </a:lstStyle>
          <a:p>
            <a:r>
              <a:rPr lang="en-US"/>
              <a:t>Click to edit Master subtitle style</a:t>
            </a:r>
            <a:endParaRPr lang="en-US" dirty="0"/>
          </a:p>
        </p:txBody>
      </p:sp>
      <p:sp>
        <p:nvSpPr>
          <p:cNvPr id="26" name="Title 8">
            <a:extLst>
              <a:ext uri="{FF2B5EF4-FFF2-40B4-BE49-F238E27FC236}">
                <a16:creationId xmlns:a16="http://schemas.microsoft.com/office/drawing/2014/main" id="{35297A80-E26A-584B-9467-3D3911952CA9}"/>
              </a:ext>
            </a:extLst>
          </p:cNvPr>
          <p:cNvSpPr>
            <a:spLocks noGrp="1"/>
          </p:cNvSpPr>
          <p:nvPr>
            <p:ph type="title" hasCustomPrompt="1"/>
          </p:nvPr>
        </p:nvSpPr>
        <p:spPr>
          <a:xfrm>
            <a:off x="743712" y="539498"/>
            <a:ext cx="10708464" cy="1099899"/>
          </a:xfrm>
          <a:prstGeom prst="rect">
            <a:avLst/>
          </a:prstGeom>
        </p:spPr>
        <p:txBody>
          <a:bodyPr/>
          <a:lstStyle>
            <a:lvl1pPr marL="0" algn="l" defTabSz="514337" rtl="0" eaLnBrk="1" latinLnBrk="0" hangingPunct="1">
              <a:lnSpc>
                <a:spcPct val="90000"/>
              </a:lnSpc>
              <a:spcBef>
                <a:spcPct val="0"/>
              </a:spcBef>
              <a:buNone/>
              <a:defRPr lang="en-US" sz="2100" b="1" i="0" kern="1200" cap="none" spc="0" baseline="0" dirty="0">
                <a:solidFill>
                  <a:schemeClr val="tx1"/>
                </a:solidFill>
                <a:latin typeface="+mj-lt"/>
                <a:ea typeface="+mj-ea"/>
                <a:cs typeface="+mj-cs"/>
              </a:defRPr>
            </a:lvl1pPr>
          </a:lstStyle>
          <a:p>
            <a:r>
              <a:rPr lang="en-US" dirty="0"/>
              <a:t>Body copy slide template— 1 column/subhead</a:t>
            </a:r>
          </a:p>
        </p:txBody>
      </p:sp>
      <p:sp>
        <p:nvSpPr>
          <p:cNvPr id="29" name="Content Placeholder 49">
            <a:extLst>
              <a:ext uri="{FF2B5EF4-FFF2-40B4-BE49-F238E27FC236}">
                <a16:creationId xmlns:a16="http://schemas.microsoft.com/office/drawing/2014/main" id="{0AAD12ED-B130-3E49-B70C-C9C2A193CA75}"/>
              </a:ext>
            </a:extLst>
          </p:cNvPr>
          <p:cNvSpPr>
            <a:spLocks noGrp="1"/>
          </p:cNvSpPr>
          <p:nvPr>
            <p:ph sz="quarter" idx="16"/>
          </p:nvPr>
        </p:nvSpPr>
        <p:spPr>
          <a:xfrm>
            <a:off x="743716" y="2211671"/>
            <a:ext cx="10708465" cy="3227663"/>
          </a:xfrm>
          <a:prstGeom prst="rect">
            <a:avLst/>
          </a:prstGeom>
        </p:spPr>
        <p:txBody>
          <a:bodyPr/>
          <a:lstStyle>
            <a:lvl1pPr marL="0" indent="0">
              <a:lnSpc>
                <a:spcPct val="110000"/>
              </a:lnSpc>
              <a:spcBef>
                <a:spcPts val="600"/>
              </a:spcBef>
              <a:buNone/>
              <a:defRPr sz="975"/>
            </a:lvl1pPr>
            <a:lvl2pPr marL="6251" indent="0">
              <a:lnSpc>
                <a:spcPct val="110000"/>
              </a:lnSpc>
              <a:spcBef>
                <a:spcPts val="600"/>
              </a:spcBef>
              <a:buNone/>
              <a:tabLst/>
              <a:defRPr sz="975"/>
            </a:lvl2pPr>
            <a:lvl3pPr marL="129478" indent="-123227">
              <a:lnSpc>
                <a:spcPct val="110000"/>
              </a:lnSpc>
              <a:spcBef>
                <a:spcPts val="600"/>
              </a:spcBef>
              <a:spcAft>
                <a:spcPts val="0"/>
              </a:spcAft>
              <a:buFont typeface="System Font Regular"/>
              <a:buChar char="–"/>
              <a:tabLst/>
              <a:defRPr sz="975"/>
            </a:lvl3pPr>
            <a:lvl4pPr marL="192876" indent="-99118">
              <a:lnSpc>
                <a:spcPct val="110000"/>
              </a:lnSpc>
              <a:spcBef>
                <a:spcPts val="600"/>
              </a:spcBef>
              <a:buFont typeface="System Font Regular"/>
              <a:buChar char="+"/>
              <a:tabLst/>
              <a:defRPr sz="975"/>
            </a:lvl4pPr>
            <a:lvl5pPr marL="323247" indent="-99118">
              <a:lnSpc>
                <a:spcPct val="110000"/>
              </a:lnSpc>
              <a:spcBef>
                <a:spcPts val="600"/>
              </a:spcBef>
              <a:buFont typeface="System Font Regular"/>
              <a:buChar char="–"/>
              <a:tabLst/>
              <a:defRPr sz="9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Slide Number Placeholder 5">
            <a:extLst>
              <a:ext uri="{FF2B5EF4-FFF2-40B4-BE49-F238E27FC236}">
                <a16:creationId xmlns:a16="http://schemas.microsoft.com/office/drawing/2014/main" id="{BDE8FF4F-7124-B344-9519-33625C0E44D5}"/>
              </a:ext>
            </a:extLst>
          </p:cNvPr>
          <p:cNvSpPr>
            <a:spLocks noGrp="1"/>
          </p:cNvSpPr>
          <p:nvPr>
            <p:ph type="sldNum" sz="quarter" idx="4"/>
          </p:nvPr>
        </p:nvSpPr>
        <p:spPr>
          <a:xfrm>
            <a:off x="11452179" y="6375539"/>
            <a:ext cx="456429" cy="225291"/>
          </a:xfrm>
          <a:prstGeom prst="rect">
            <a:avLst/>
          </a:prstGeom>
        </p:spPr>
        <p:txBody>
          <a:bodyPr vert="horz" lIns="91440" tIns="45720" rIns="91440" bIns="45720" rtlCol="0" anchor="t"/>
          <a:lstStyle>
            <a:lvl1pPr algn="r">
              <a:defRPr sz="563" b="1" i="0">
                <a:solidFill>
                  <a:schemeClr val="tx1">
                    <a:tint val="75000"/>
                  </a:schemeClr>
                </a:solidFill>
                <a:latin typeface="+mj-lt"/>
              </a:defRPr>
            </a:lvl1pPr>
          </a:lstStyle>
          <a:p>
            <a:fld id="{982D468C-8F71-314C-A979-931A6F21B3BB}" type="slidenum">
              <a:rPr lang="en-US" smtClean="0"/>
              <a:pPr/>
              <a:t>‹#›</a:t>
            </a:fld>
            <a:endParaRPr lang="en-US" dirty="0"/>
          </a:p>
        </p:txBody>
      </p:sp>
      <p:sp>
        <p:nvSpPr>
          <p:cNvPr id="24" name="Text Placeholder 3">
            <a:extLst>
              <a:ext uri="{FF2B5EF4-FFF2-40B4-BE49-F238E27FC236}">
                <a16:creationId xmlns:a16="http://schemas.microsoft.com/office/drawing/2014/main" id="{C58CA996-3179-5B4B-9028-E6B2C3658978}"/>
              </a:ext>
            </a:extLst>
          </p:cNvPr>
          <p:cNvSpPr>
            <a:spLocks noGrp="1"/>
          </p:cNvSpPr>
          <p:nvPr>
            <p:ph type="body" sz="quarter" idx="13"/>
          </p:nvPr>
        </p:nvSpPr>
        <p:spPr>
          <a:xfrm>
            <a:off x="887351" y="62721"/>
            <a:ext cx="1249573" cy="121252"/>
          </a:xfrm>
          <a:prstGeom prst="rect">
            <a:avLst/>
          </a:prstGeom>
          <a:solidFill>
            <a:schemeClr val="tx2"/>
          </a:solidFill>
          <a:ln>
            <a:noFill/>
          </a:ln>
        </p:spPr>
        <p:txBody>
          <a:bodyPr wrap="none" anchor="ctr">
            <a:spAutoFit/>
          </a:bodyPr>
          <a:lstStyle>
            <a:lvl1pPr marL="0" indent="0">
              <a:buNone/>
              <a:defRPr sz="788" b="1" cap="all" spc="28" baseline="0">
                <a:solidFill>
                  <a:schemeClr val="bg1"/>
                </a:solidFill>
                <a:latin typeface="+mj-lt"/>
              </a:defRPr>
            </a:lvl1pPr>
          </a:lstStyle>
          <a:p>
            <a:pPr lvl="0"/>
            <a:r>
              <a:rPr lang="en-US"/>
              <a:t>Edit Master text styles</a:t>
            </a:r>
          </a:p>
        </p:txBody>
      </p:sp>
      <p:sp>
        <p:nvSpPr>
          <p:cNvPr id="3" name="Text Placeholder 2">
            <a:extLst>
              <a:ext uri="{FF2B5EF4-FFF2-40B4-BE49-F238E27FC236}">
                <a16:creationId xmlns:a16="http://schemas.microsoft.com/office/drawing/2014/main" id="{47A0F2C2-CDBE-3E4C-A5A4-C197840BC8B6}"/>
              </a:ext>
            </a:extLst>
          </p:cNvPr>
          <p:cNvSpPr>
            <a:spLocks noGrp="1"/>
          </p:cNvSpPr>
          <p:nvPr>
            <p:ph type="body" sz="quarter" idx="17" hasCustomPrompt="1"/>
          </p:nvPr>
        </p:nvSpPr>
        <p:spPr>
          <a:xfrm>
            <a:off x="743715" y="5900728"/>
            <a:ext cx="7412567" cy="250825"/>
          </a:xfrm>
          <a:prstGeom prst="rect">
            <a:avLst/>
          </a:prstGeom>
        </p:spPr>
        <p:txBody>
          <a:bodyPr/>
          <a:lstStyle>
            <a:lvl1pPr marL="0" indent="0">
              <a:buFontTx/>
              <a:buNone/>
              <a:defRPr sz="525" i="1"/>
            </a:lvl1pPr>
            <a:lvl2pPr marL="257168" indent="0">
              <a:buFontTx/>
              <a:buNone/>
              <a:defRPr sz="525"/>
            </a:lvl2pPr>
            <a:lvl3pPr marL="514337" indent="0">
              <a:buFontTx/>
              <a:buNone/>
              <a:defRPr sz="525"/>
            </a:lvl3pPr>
            <a:lvl4pPr marL="771506" indent="0">
              <a:buFontTx/>
              <a:buNone/>
              <a:defRPr sz="525"/>
            </a:lvl4pPr>
            <a:lvl5pPr marL="1028675" indent="0">
              <a:buFontTx/>
              <a:buNone/>
              <a:defRPr sz="525"/>
            </a:lvl5pPr>
          </a:lstStyle>
          <a:p>
            <a:pPr lvl="0"/>
            <a:r>
              <a:rPr lang="en-US" dirty="0"/>
              <a:t>This style is used for a footnote or asterisk notated in text. Copy and paste on slides as necessary.</a:t>
            </a:r>
          </a:p>
        </p:txBody>
      </p:sp>
      <p:pic>
        <p:nvPicPr>
          <p:cNvPr id="10" name="Picture 9">
            <a:extLst>
              <a:ext uri="{FF2B5EF4-FFF2-40B4-BE49-F238E27FC236}">
                <a16:creationId xmlns:a16="http://schemas.microsoft.com/office/drawing/2014/main" id="{369F6E11-031E-664F-972C-9E9821E3A4C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6375538"/>
            <a:ext cx="1834011" cy="483683"/>
          </a:xfrm>
          <a:prstGeom prst="rect">
            <a:avLst/>
          </a:prstGeom>
        </p:spPr>
      </p:pic>
    </p:spTree>
    <p:extLst>
      <p:ext uri="{BB962C8B-B14F-4D97-AF65-F5344CB8AC3E}">
        <p14:creationId xmlns:p14="http://schemas.microsoft.com/office/powerpoint/2010/main" val="23668689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a:xfrm>
            <a:off x="609600" y="496196"/>
            <a:ext cx="10972800" cy="660641"/>
          </a:xfrm>
        </p:spPr>
        <p:txBody>
          <a:bodyPr/>
          <a:lstStyle/>
          <a:p>
            <a:r>
              <a:rPr lang="en-US" dirty="0"/>
              <a:t>Click to edit Master title style</a:t>
            </a:r>
          </a:p>
        </p:txBody>
      </p:sp>
      <p:sp>
        <p:nvSpPr>
          <p:cNvPr id="3" name="Content Placeholder 2"/>
          <p:cNvSpPr>
            <a:spLocks noGrp="1"/>
          </p:cNvSpPr>
          <p:nvPr>
            <p:ph idx="1"/>
          </p:nvPr>
        </p:nvSpPr>
        <p:spPr>
          <a:xfrm>
            <a:off x="609600" y="1382713"/>
            <a:ext cx="10972800" cy="468977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descr="PowerPoint-Slides.ai"/>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5876602"/>
            <a:ext cx="7501467" cy="990600"/>
          </a:xfrm>
          <a:prstGeom prst="rect">
            <a:avLst/>
          </a:prstGeom>
        </p:spPr>
      </p:pic>
      <p:sp>
        <p:nvSpPr>
          <p:cNvPr id="8" name="Date Placeholder 3"/>
          <p:cNvSpPr txBox="1">
            <a:spLocks/>
          </p:cNvSpPr>
          <p:nvPr userDrawn="1"/>
        </p:nvSpPr>
        <p:spPr>
          <a:xfrm>
            <a:off x="259472" y="6230444"/>
            <a:ext cx="3938797" cy="452548"/>
          </a:xfrm>
          <a:prstGeom prst="rect">
            <a:avLst/>
          </a:prstGeom>
        </p:spPr>
        <p:txBody>
          <a:bodyPr vert="horz" lIns="0" tIns="0" rIns="0" bIns="0" rtlCol="0" anchor="b" anchorCtr="0"/>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Aft>
                <a:spcPts val="600"/>
              </a:spcAft>
            </a:pPr>
            <a:r>
              <a:rPr lang="en-US" sz="700" b="1" dirty="0">
                <a:solidFill>
                  <a:schemeClr val="bg1"/>
                </a:solidFill>
                <a:latin typeface="+mn-lt"/>
                <a:cs typeface="Arial"/>
              </a:rPr>
              <a:t>Page </a:t>
            </a:r>
            <a:fld id="{A521FBC1-CF28-4865-8484-78350ADBC729}" type="slidenum">
              <a:rPr lang="en-US" sz="700" b="1" smtClean="0">
                <a:solidFill>
                  <a:schemeClr val="bg1"/>
                </a:solidFill>
                <a:latin typeface="+mn-lt"/>
                <a:cs typeface="Arial"/>
              </a:rPr>
              <a:pPr>
                <a:spcAft>
                  <a:spcPts val="600"/>
                </a:spcAft>
              </a:pPr>
              <a:t>‹#›</a:t>
            </a:fld>
            <a:endParaRPr lang="en-US" sz="700" b="1" dirty="0">
              <a:solidFill>
                <a:schemeClr val="bg1"/>
              </a:solidFill>
              <a:latin typeface="+mn-lt"/>
              <a:cs typeface="Arial"/>
            </a:endParaRPr>
          </a:p>
          <a:p>
            <a:r>
              <a:rPr lang="en-US" sz="700" dirty="0">
                <a:solidFill>
                  <a:schemeClr val="bg1"/>
                </a:solidFill>
                <a:latin typeface="+mn-lt"/>
                <a:cs typeface="Arial"/>
              </a:rPr>
              <a:t>© 2017 Hill-Rom Services, Inc. ALL RIGHTS RESERVED</a:t>
            </a:r>
          </a:p>
        </p:txBody>
      </p:sp>
    </p:spTree>
    <p:extLst>
      <p:ext uri="{BB962C8B-B14F-4D97-AF65-F5344CB8AC3E}">
        <p14:creationId xmlns:p14="http://schemas.microsoft.com/office/powerpoint/2010/main" val="11021306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C9EE00-4DE9-42B5-8867-752AB60A2C53}"/>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2CF9C95-47C4-46CE-8E34-F2CE58CE8470}"/>
              </a:ext>
            </a:extLst>
          </p:cNvPr>
          <p:cNvSpPr>
            <a:spLocks noGrp="1"/>
          </p:cNvSpPr>
          <p:nvPr>
            <p:ph type="sldNum" sz="quarter" idx="10"/>
          </p:nvPr>
        </p:nvSpPr>
        <p:spPr/>
        <p:txBody>
          <a:bodyPr/>
          <a:lstStyle>
            <a:lvl1pPr>
              <a:defRPr/>
            </a:lvl1pPr>
          </a:lstStyle>
          <a:p>
            <a:fld id="{9EB4BCF0-87F4-4F81-8182-CC5DE0BF8FD3}" type="slidenum">
              <a:rPr lang="en-US" altLang="en-US"/>
              <a:pPr/>
              <a:t>‹#›</a:t>
            </a:fld>
            <a:endParaRPr lang="en-US" altLang="en-US"/>
          </a:p>
        </p:txBody>
      </p:sp>
    </p:spTree>
    <p:extLst>
      <p:ext uri="{BB962C8B-B14F-4D97-AF65-F5344CB8AC3E}">
        <p14:creationId xmlns:p14="http://schemas.microsoft.com/office/powerpoint/2010/main" val="523167916"/>
      </p:ext>
    </p:extLst>
  </p:cSld>
  <p:clrMapOvr>
    <a:masterClrMapping/>
  </p:clrMapOvr>
  <p:transition>
    <p:cove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2">
        <a:schemeClr val="bg2"/>
      </p:bgRef>
    </p:bg>
    <p:spTree>
      <p:nvGrpSpPr>
        <p:cNvPr id="1" name=""/>
        <p:cNvGrpSpPr/>
        <p:nvPr/>
      </p:nvGrpSpPr>
      <p:grpSpPr>
        <a:xfrm>
          <a:off x="0" y="0"/>
          <a:ext cx="0" cy="0"/>
          <a:chOff x="0" y="0"/>
          <a:chExt cx="0" cy="0"/>
        </a:xfrm>
      </p:grpSpPr>
      <p:sp>
        <p:nvSpPr>
          <p:cNvPr id="9" name="Rectangle 8"/>
          <p:cNvSpPr/>
          <p:nvPr/>
        </p:nvSpPr>
        <p:spPr bwMode="ltGray">
          <a:xfrm>
            <a:off x="0" y="1"/>
            <a:ext cx="12192000" cy="2602520"/>
          </a:xfrm>
          <a:prstGeom prst="rect">
            <a:avLst/>
          </a:prstGeom>
          <a:solidFill>
            <a:srgbClr val="000000"/>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lIns="91421" tIns="45710" rIns="91421" bIns="45710" rtlCol="0" anchor="ctr"/>
          <a:lstStyle/>
          <a:p>
            <a:pPr algn="ctr" defTabSz="914206"/>
            <a:endParaRPr lang="en-US" sz="1800">
              <a:solidFill>
                <a:prstClr val="white"/>
              </a:solidFill>
              <a:latin typeface="Corbel"/>
            </a:endParaRPr>
          </a:p>
        </p:txBody>
      </p:sp>
      <p:sp>
        <p:nvSpPr>
          <p:cNvPr id="12" name="Rectangle 11"/>
          <p:cNvSpPr/>
          <p:nvPr/>
        </p:nvSpPr>
        <p:spPr bwMode="invGray">
          <a:xfrm>
            <a:off x="0" y="2602520"/>
            <a:ext cx="12192000" cy="45720"/>
          </a:xfrm>
          <a:prstGeom prst="rect">
            <a:avLst/>
          </a:prstGeom>
          <a:solidFill>
            <a:srgbClr val="FFFFFF"/>
          </a:solidFill>
          <a:ln w="48000" cap="flat" cmpd="thickThin" algn="ctr">
            <a:noFill/>
            <a:prstDash val="solid"/>
          </a:ln>
          <a:effectLst>
            <a:outerShdw blurRad="31750" dist="10160" dir="5400000" algn="tl" rotWithShape="0">
              <a:srgbClr val="000000">
                <a:alpha val="60000"/>
              </a:srgbClr>
            </a:outerShdw>
          </a:effectLst>
        </p:spPr>
        <p:style>
          <a:lnRef idx="2">
            <a:schemeClr val="accent1"/>
          </a:lnRef>
          <a:fillRef idx="1">
            <a:schemeClr val="accent1"/>
          </a:fillRef>
          <a:effectRef idx="0">
            <a:schemeClr val="accent1"/>
          </a:effectRef>
          <a:fontRef idx="minor">
            <a:schemeClr val="lt1"/>
          </a:fontRef>
        </p:style>
        <p:txBody>
          <a:bodyPr lIns="91421" tIns="45710" rIns="91421" bIns="45710" rtlCol="0" anchor="ctr"/>
          <a:lstStyle/>
          <a:p>
            <a:pPr algn="ctr" defTabSz="914206"/>
            <a:endParaRPr lang="en-US" sz="1800">
              <a:solidFill>
                <a:prstClr val="white"/>
              </a:solidFill>
              <a:latin typeface="Corbel"/>
            </a:endParaRPr>
          </a:p>
        </p:txBody>
      </p:sp>
      <p:sp>
        <p:nvSpPr>
          <p:cNvPr id="2" name="Title 1"/>
          <p:cNvSpPr>
            <a:spLocks noGrp="1"/>
          </p:cNvSpPr>
          <p:nvPr>
            <p:ph type="title"/>
          </p:nvPr>
        </p:nvSpPr>
        <p:spPr>
          <a:xfrm>
            <a:off x="999747" y="118872"/>
            <a:ext cx="10684256" cy="1636776"/>
          </a:xfrm>
        </p:spPr>
        <p:txBody>
          <a:bodyPr vert="horz" lIns="91421" tIns="0" rIns="91421" bIns="0" rtlCol="0" anchor="b">
            <a:normAutofit/>
            <a:scene3d>
              <a:camera prst="orthographicFront"/>
              <a:lightRig rig="threePt" dir="t">
                <a:rot lat="0" lon="0" rev="4800000"/>
              </a:lightRig>
            </a:scene3d>
            <a:sp3d prstMaterial="matte">
              <a:bevelT w="50800" h="10160"/>
            </a:sp3d>
          </a:bodyPr>
          <a:lstStyle>
            <a:lvl1pPr algn="l">
              <a:defRPr sz="4700" b="1" cap="none" baseline="0"/>
            </a:lvl1pPr>
            <a:extLst/>
          </a:lstStyle>
          <a:p>
            <a:r>
              <a:rPr kumimoji="0" lang="en-US"/>
              <a:t>Click to edit Master title style</a:t>
            </a:r>
          </a:p>
        </p:txBody>
      </p:sp>
      <p:sp>
        <p:nvSpPr>
          <p:cNvPr id="3" name="Text Placeholder 2"/>
          <p:cNvSpPr>
            <a:spLocks noGrp="1"/>
          </p:cNvSpPr>
          <p:nvPr>
            <p:ph type="body" idx="1"/>
          </p:nvPr>
        </p:nvSpPr>
        <p:spPr>
          <a:xfrm>
            <a:off x="987552" y="1828800"/>
            <a:ext cx="10696448" cy="685800"/>
          </a:xfrm>
        </p:spPr>
        <p:txBody>
          <a:bodyPr lIns="146273" tIns="0" rIns="45710" bIns="0" anchor="t"/>
          <a:lstStyle>
            <a:lvl1pPr marL="0" indent="0">
              <a:buNone/>
              <a:defRPr sz="2000">
                <a:solidFill>
                  <a:srgbClr val="FFFFFF"/>
                </a:solidFill>
              </a:defRPr>
            </a:lvl1pPr>
            <a:lvl2pPr marL="457103" indent="0">
              <a:buNone/>
              <a:defRPr sz="1800">
                <a:solidFill>
                  <a:schemeClr val="tx1">
                    <a:tint val="75000"/>
                  </a:schemeClr>
                </a:solidFill>
              </a:defRPr>
            </a:lvl2pPr>
            <a:lvl3pPr marL="914206" indent="0">
              <a:buNone/>
              <a:defRPr sz="1600">
                <a:solidFill>
                  <a:schemeClr val="tx1">
                    <a:tint val="75000"/>
                  </a:schemeClr>
                </a:solidFill>
              </a:defRPr>
            </a:lvl3pPr>
            <a:lvl4pPr marL="1371310" indent="0">
              <a:buNone/>
              <a:defRPr sz="1400">
                <a:solidFill>
                  <a:schemeClr val="tx1">
                    <a:tint val="75000"/>
                  </a:schemeClr>
                </a:solidFill>
              </a:defRPr>
            </a:lvl4pPr>
            <a:lvl5pPr marL="1828412" indent="0">
              <a:buNone/>
              <a:defRPr sz="1400">
                <a:solidFill>
                  <a:schemeClr val="tx1">
                    <a:tint val="75000"/>
                  </a:schemeClr>
                </a:solidFill>
              </a:defRPr>
            </a:lvl5pPr>
            <a:lvl6pPr marL="2285516" indent="0">
              <a:buNone/>
              <a:defRPr sz="1400">
                <a:solidFill>
                  <a:schemeClr val="tx1">
                    <a:tint val="75000"/>
                  </a:schemeClr>
                </a:solidFill>
              </a:defRPr>
            </a:lvl6pPr>
            <a:lvl7pPr marL="2742618" indent="0">
              <a:buNone/>
              <a:defRPr sz="1400">
                <a:solidFill>
                  <a:schemeClr val="tx1">
                    <a:tint val="75000"/>
                  </a:schemeClr>
                </a:solidFill>
              </a:defRPr>
            </a:lvl7pPr>
            <a:lvl8pPr marL="3199722" indent="0">
              <a:buNone/>
              <a:defRPr sz="1400">
                <a:solidFill>
                  <a:schemeClr val="tx1">
                    <a:tint val="75000"/>
                  </a:schemeClr>
                </a:solidFill>
              </a:defRPr>
            </a:lvl8pPr>
            <a:lvl9pPr marL="3656825" indent="0">
              <a:buNone/>
              <a:defRPr sz="1400">
                <a:solidFill>
                  <a:schemeClr val="tx1">
                    <a:tint val="75000"/>
                  </a:schemeClr>
                </a:solidFill>
              </a:defRPr>
            </a:lvl9pPr>
            <a:extLst/>
          </a:lstStyle>
          <a:p>
            <a:pPr lvl="0" eaLnBrk="1" latinLnBrk="0" hangingPunct="1"/>
            <a:r>
              <a:rPr kumimoji="0" lang="en-US"/>
              <a:t>Click to edit Master text styles</a:t>
            </a:r>
          </a:p>
        </p:txBody>
      </p:sp>
      <p:sp>
        <p:nvSpPr>
          <p:cNvPr id="4" name="Date Placeholder 3"/>
          <p:cNvSpPr>
            <a:spLocks noGrp="1"/>
          </p:cNvSpPr>
          <p:nvPr>
            <p:ph type="dt" sz="half" idx="10"/>
          </p:nvPr>
        </p:nvSpPr>
        <p:spPr/>
        <p:txBody>
          <a:bodyPr/>
          <a:lstStyle/>
          <a:p>
            <a:fld id="{968505FD-053B-47C4-B9BE-A64CC0824E06}" type="datetimeFigureOut">
              <a:rPr lang="en-US" smtClean="0">
                <a:solidFill>
                  <a:prstClr val="white">
                    <a:tint val="95000"/>
                  </a:prstClr>
                </a:solidFill>
                <a:latin typeface="Corbel"/>
              </a:rPr>
              <a:pPr/>
              <a:t>10/14/2019</a:t>
            </a:fld>
            <a:endParaRPr lang="en-US">
              <a:solidFill>
                <a:prstClr val="white">
                  <a:tint val="95000"/>
                </a:prstClr>
              </a:solidFill>
              <a:latin typeface="Corbel"/>
            </a:endParaRPr>
          </a:p>
        </p:txBody>
      </p:sp>
      <p:sp>
        <p:nvSpPr>
          <p:cNvPr id="5" name="Footer Placeholder 4"/>
          <p:cNvSpPr>
            <a:spLocks noGrp="1"/>
          </p:cNvSpPr>
          <p:nvPr>
            <p:ph type="ftr" sz="quarter" idx="11"/>
          </p:nvPr>
        </p:nvSpPr>
        <p:spPr/>
        <p:txBody>
          <a:bodyPr/>
          <a:lstStyle/>
          <a:p>
            <a:endParaRPr lang="en-US">
              <a:solidFill>
                <a:prstClr val="white">
                  <a:tint val="95000"/>
                </a:prstClr>
              </a:solidFill>
              <a:latin typeface="Corbel"/>
            </a:endParaRPr>
          </a:p>
        </p:txBody>
      </p:sp>
      <p:sp>
        <p:nvSpPr>
          <p:cNvPr id="6" name="Slide Number Placeholder 5"/>
          <p:cNvSpPr>
            <a:spLocks noGrp="1"/>
          </p:cNvSpPr>
          <p:nvPr>
            <p:ph type="sldNum" sz="quarter" idx="12"/>
          </p:nvPr>
        </p:nvSpPr>
        <p:spPr/>
        <p:txBody>
          <a:bodyPr/>
          <a:lstStyle/>
          <a:p>
            <a:fld id="{5CA8C7E4-D10A-4A6B-806E-F5DCAF195BAA}" type="slidenum">
              <a:rPr lang="en-US" smtClean="0">
                <a:solidFill>
                  <a:prstClr val="white">
                    <a:tint val="95000"/>
                  </a:prstClr>
                </a:solidFill>
                <a:latin typeface="Corbel"/>
              </a:rPr>
              <a:pPr/>
              <a:t>‹#›</a:t>
            </a:fld>
            <a:endParaRPr lang="en-US">
              <a:solidFill>
                <a:prstClr val="white">
                  <a:tint val="95000"/>
                </a:prstClr>
              </a:solidFill>
              <a:latin typeface="Corbel"/>
            </a:endParaRPr>
          </a:p>
        </p:txBody>
      </p:sp>
    </p:spTree>
    <p:extLst>
      <p:ext uri="{BB962C8B-B14F-4D97-AF65-F5344CB8AC3E}">
        <p14:creationId xmlns:p14="http://schemas.microsoft.com/office/powerpoint/2010/main" val="2366423056"/>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Content Placeholder 2"/>
          <p:cNvSpPr>
            <a:spLocks noGrp="1"/>
          </p:cNvSpPr>
          <p:nvPr>
            <p:ph sz="half" idx="1"/>
          </p:nvPr>
        </p:nvSpPr>
        <p:spPr>
          <a:xfrm>
            <a:off x="609600" y="1773936"/>
            <a:ext cx="5384800" cy="4623816"/>
          </a:xfrm>
        </p:spPr>
        <p:txBody>
          <a:bodyPr lIns="91421"/>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extLs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Content Placeholder 3"/>
          <p:cNvSpPr>
            <a:spLocks noGrp="1"/>
          </p:cNvSpPr>
          <p:nvPr>
            <p:ph sz="half" idx="2"/>
          </p:nvPr>
        </p:nvSpPr>
        <p:spPr>
          <a:xfrm>
            <a:off x="6197600" y="1773936"/>
            <a:ext cx="5384800" cy="462381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extLs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Date Placeholder 4"/>
          <p:cNvSpPr>
            <a:spLocks noGrp="1"/>
          </p:cNvSpPr>
          <p:nvPr>
            <p:ph type="dt" sz="half" idx="10"/>
          </p:nvPr>
        </p:nvSpPr>
        <p:spPr/>
        <p:txBody>
          <a:bodyPr/>
          <a:lstStyle/>
          <a:p>
            <a:fld id="{968505FD-053B-47C4-B9BE-A64CC0824E06}" type="datetimeFigureOut">
              <a:rPr lang="en-US" smtClean="0">
                <a:solidFill>
                  <a:prstClr val="black">
                    <a:tint val="95000"/>
                  </a:prstClr>
                </a:solidFill>
                <a:latin typeface="Corbel"/>
              </a:rPr>
              <a:pPr/>
              <a:t>10/14/2019</a:t>
            </a:fld>
            <a:endParaRPr lang="en-US">
              <a:solidFill>
                <a:prstClr val="black">
                  <a:tint val="95000"/>
                </a:prstClr>
              </a:solidFill>
              <a:latin typeface="Corbel"/>
            </a:endParaRPr>
          </a:p>
        </p:txBody>
      </p:sp>
      <p:sp>
        <p:nvSpPr>
          <p:cNvPr id="6" name="Footer Placeholder 5"/>
          <p:cNvSpPr>
            <a:spLocks noGrp="1"/>
          </p:cNvSpPr>
          <p:nvPr>
            <p:ph type="ftr" sz="quarter" idx="11"/>
          </p:nvPr>
        </p:nvSpPr>
        <p:spPr/>
        <p:txBody>
          <a:bodyPr/>
          <a:lstStyle/>
          <a:p>
            <a:endParaRPr lang="en-US">
              <a:solidFill>
                <a:prstClr val="black">
                  <a:tint val="95000"/>
                </a:prstClr>
              </a:solidFill>
              <a:latin typeface="Corbel"/>
            </a:endParaRPr>
          </a:p>
        </p:txBody>
      </p:sp>
      <p:sp>
        <p:nvSpPr>
          <p:cNvPr id="7" name="Slide Number Placeholder 6"/>
          <p:cNvSpPr>
            <a:spLocks noGrp="1"/>
          </p:cNvSpPr>
          <p:nvPr>
            <p:ph type="sldNum" sz="quarter" idx="12"/>
          </p:nvPr>
        </p:nvSpPr>
        <p:spPr/>
        <p:txBody>
          <a:bodyPr/>
          <a:lstStyle/>
          <a:p>
            <a:fld id="{5CA8C7E4-D10A-4A6B-806E-F5DCAF195BAA}" type="slidenum">
              <a:rPr lang="en-US" smtClean="0">
                <a:solidFill>
                  <a:prstClr val="black">
                    <a:tint val="95000"/>
                  </a:prstClr>
                </a:solidFill>
                <a:latin typeface="Corbel"/>
              </a:rPr>
              <a:pPr/>
              <a:t>‹#›</a:t>
            </a:fld>
            <a:endParaRPr lang="en-US">
              <a:solidFill>
                <a:prstClr val="black">
                  <a:tint val="95000"/>
                </a:prstClr>
              </a:solidFill>
              <a:latin typeface="Corbel"/>
            </a:endParaRPr>
          </a:p>
        </p:txBody>
      </p:sp>
    </p:spTree>
    <p:extLst>
      <p:ext uri="{BB962C8B-B14F-4D97-AF65-F5344CB8AC3E}">
        <p14:creationId xmlns:p14="http://schemas.microsoft.com/office/powerpoint/2010/main" val="5369300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extLst/>
          </a:lstStyle>
          <a:p>
            <a:r>
              <a:rPr kumimoji="0" lang="en-US"/>
              <a:t>Click to edit Master title style</a:t>
            </a:r>
          </a:p>
        </p:txBody>
      </p:sp>
      <p:sp>
        <p:nvSpPr>
          <p:cNvPr id="3" name="Text Placeholder 2"/>
          <p:cNvSpPr>
            <a:spLocks noGrp="1"/>
          </p:cNvSpPr>
          <p:nvPr>
            <p:ph type="body" idx="1"/>
          </p:nvPr>
        </p:nvSpPr>
        <p:spPr>
          <a:xfrm>
            <a:off x="609600" y="1698990"/>
            <a:ext cx="5386917" cy="715355"/>
          </a:xfrm>
        </p:spPr>
        <p:txBody>
          <a:bodyPr lIns="146273" anchor="ctr"/>
          <a:lstStyle>
            <a:lvl1pPr marL="0" indent="0">
              <a:buNone/>
              <a:defRPr sz="2300" b="1" cap="all" baseline="0"/>
            </a:lvl1pPr>
            <a:lvl2pPr marL="457103" indent="0">
              <a:buNone/>
              <a:defRPr sz="2000" b="1"/>
            </a:lvl2pPr>
            <a:lvl3pPr marL="914206" indent="0">
              <a:buNone/>
              <a:defRPr sz="1800" b="1"/>
            </a:lvl3pPr>
            <a:lvl4pPr marL="1371310" indent="0">
              <a:buNone/>
              <a:defRPr sz="1600" b="1"/>
            </a:lvl4pPr>
            <a:lvl5pPr marL="1828412" indent="0">
              <a:buNone/>
              <a:defRPr sz="1600" b="1"/>
            </a:lvl5pPr>
            <a:lvl6pPr marL="2285516" indent="0">
              <a:buNone/>
              <a:defRPr sz="1600" b="1"/>
            </a:lvl6pPr>
            <a:lvl7pPr marL="2742618" indent="0">
              <a:buNone/>
              <a:defRPr sz="1600" b="1"/>
            </a:lvl7pPr>
            <a:lvl8pPr marL="3199722" indent="0">
              <a:buNone/>
              <a:defRPr sz="1600" b="1"/>
            </a:lvl8pPr>
            <a:lvl9pPr marL="3656825" indent="0">
              <a:buNone/>
              <a:defRPr sz="1600" b="1"/>
            </a:lvl9pPr>
            <a:extLst/>
          </a:lstStyle>
          <a:p>
            <a:pPr lvl="0" eaLnBrk="1" latinLnBrk="0" hangingPunct="1"/>
            <a:r>
              <a:rPr kumimoji="0" lang="en-US"/>
              <a:t>Click to edit Master text styles</a:t>
            </a:r>
          </a:p>
        </p:txBody>
      </p:sp>
      <p:sp>
        <p:nvSpPr>
          <p:cNvPr id="4" name="Content Placeholder 3"/>
          <p:cNvSpPr>
            <a:spLocks noGrp="1"/>
          </p:cNvSpPr>
          <p:nvPr>
            <p:ph sz="half" idx="2"/>
          </p:nvPr>
        </p:nvSpPr>
        <p:spPr>
          <a:xfrm>
            <a:off x="609600" y="2449512"/>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extLs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Text Placeholder 4"/>
          <p:cNvSpPr>
            <a:spLocks noGrp="1"/>
          </p:cNvSpPr>
          <p:nvPr>
            <p:ph type="body" sz="quarter" idx="3"/>
          </p:nvPr>
        </p:nvSpPr>
        <p:spPr>
          <a:xfrm>
            <a:off x="6193393" y="1698990"/>
            <a:ext cx="5389033" cy="715355"/>
          </a:xfrm>
        </p:spPr>
        <p:txBody>
          <a:bodyPr lIns="146273" anchor="ctr"/>
          <a:lstStyle>
            <a:lvl1pPr marL="0" indent="0">
              <a:buNone/>
              <a:defRPr sz="2300" b="1" cap="all" baseline="0"/>
            </a:lvl1pPr>
            <a:lvl2pPr marL="457103" indent="0">
              <a:buNone/>
              <a:defRPr sz="2000" b="1"/>
            </a:lvl2pPr>
            <a:lvl3pPr marL="914206" indent="0">
              <a:buNone/>
              <a:defRPr sz="1800" b="1"/>
            </a:lvl3pPr>
            <a:lvl4pPr marL="1371310" indent="0">
              <a:buNone/>
              <a:defRPr sz="1600" b="1"/>
            </a:lvl4pPr>
            <a:lvl5pPr marL="1828412" indent="0">
              <a:buNone/>
              <a:defRPr sz="1600" b="1"/>
            </a:lvl5pPr>
            <a:lvl6pPr marL="2285516" indent="0">
              <a:buNone/>
              <a:defRPr sz="1600" b="1"/>
            </a:lvl6pPr>
            <a:lvl7pPr marL="2742618" indent="0">
              <a:buNone/>
              <a:defRPr sz="1600" b="1"/>
            </a:lvl7pPr>
            <a:lvl8pPr marL="3199722" indent="0">
              <a:buNone/>
              <a:defRPr sz="1600" b="1"/>
            </a:lvl8pPr>
            <a:lvl9pPr marL="3656825" indent="0">
              <a:buNone/>
              <a:defRPr sz="1600" b="1"/>
            </a:lvl9pPr>
            <a:extLst/>
          </a:lstStyle>
          <a:p>
            <a:pPr lvl="0" eaLnBrk="1" latinLnBrk="0" hangingPunct="1"/>
            <a:r>
              <a:rPr kumimoji="0" lang="en-US"/>
              <a:t>Click to edit Master text styles</a:t>
            </a:r>
          </a:p>
        </p:txBody>
      </p:sp>
      <p:sp>
        <p:nvSpPr>
          <p:cNvPr id="6" name="Content Placeholder 5"/>
          <p:cNvSpPr>
            <a:spLocks noGrp="1"/>
          </p:cNvSpPr>
          <p:nvPr>
            <p:ph sz="quarter" idx="4"/>
          </p:nvPr>
        </p:nvSpPr>
        <p:spPr>
          <a:xfrm>
            <a:off x="6193393" y="2449512"/>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extLs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7" name="Date Placeholder 6"/>
          <p:cNvSpPr>
            <a:spLocks noGrp="1"/>
          </p:cNvSpPr>
          <p:nvPr>
            <p:ph type="dt" sz="half" idx="10"/>
          </p:nvPr>
        </p:nvSpPr>
        <p:spPr/>
        <p:txBody>
          <a:bodyPr/>
          <a:lstStyle/>
          <a:p>
            <a:fld id="{968505FD-053B-47C4-B9BE-A64CC0824E06}" type="datetimeFigureOut">
              <a:rPr lang="en-US" smtClean="0">
                <a:solidFill>
                  <a:prstClr val="black">
                    <a:tint val="95000"/>
                  </a:prstClr>
                </a:solidFill>
                <a:latin typeface="Corbel"/>
              </a:rPr>
              <a:pPr/>
              <a:t>10/14/2019</a:t>
            </a:fld>
            <a:endParaRPr lang="en-US">
              <a:solidFill>
                <a:prstClr val="black">
                  <a:tint val="95000"/>
                </a:prstClr>
              </a:solidFill>
              <a:latin typeface="Corbel"/>
            </a:endParaRPr>
          </a:p>
        </p:txBody>
      </p:sp>
      <p:sp>
        <p:nvSpPr>
          <p:cNvPr id="8" name="Footer Placeholder 7"/>
          <p:cNvSpPr>
            <a:spLocks noGrp="1"/>
          </p:cNvSpPr>
          <p:nvPr>
            <p:ph type="ftr" sz="quarter" idx="11"/>
          </p:nvPr>
        </p:nvSpPr>
        <p:spPr/>
        <p:txBody>
          <a:bodyPr/>
          <a:lstStyle/>
          <a:p>
            <a:endParaRPr lang="en-US">
              <a:solidFill>
                <a:prstClr val="black">
                  <a:tint val="95000"/>
                </a:prstClr>
              </a:solidFill>
              <a:latin typeface="Corbel"/>
            </a:endParaRPr>
          </a:p>
        </p:txBody>
      </p:sp>
      <p:sp>
        <p:nvSpPr>
          <p:cNvPr id="9" name="Slide Number Placeholder 8"/>
          <p:cNvSpPr>
            <a:spLocks noGrp="1"/>
          </p:cNvSpPr>
          <p:nvPr>
            <p:ph type="sldNum" sz="quarter" idx="12"/>
          </p:nvPr>
        </p:nvSpPr>
        <p:spPr/>
        <p:txBody>
          <a:bodyPr/>
          <a:lstStyle/>
          <a:p>
            <a:fld id="{5CA8C7E4-D10A-4A6B-806E-F5DCAF195BAA}" type="slidenum">
              <a:rPr lang="en-US" smtClean="0">
                <a:solidFill>
                  <a:prstClr val="black">
                    <a:tint val="95000"/>
                  </a:prstClr>
                </a:solidFill>
                <a:latin typeface="Corbel"/>
              </a:rPr>
              <a:pPr/>
              <a:t>‹#›</a:t>
            </a:fld>
            <a:endParaRPr lang="en-US">
              <a:solidFill>
                <a:prstClr val="black">
                  <a:tint val="95000"/>
                </a:prstClr>
              </a:solidFill>
              <a:latin typeface="Corbel"/>
            </a:endParaRPr>
          </a:p>
        </p:txBody>
      </p:sp>
    </p:spTree>
    <p:extLst>
      <p:ext uri="{BB962C8B-B14F-4D97-AF65-F5344CB8AC3E}">
        <p14:creationId xmlns:p14="http://schemas.microsoft.com/office/powerpoint/2010/main" val="41753288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Date Placeholder 2"/>
          <p:cNvSpPr>
            <a:spLocks noGrp="1"/>
          </p:cNvSpPr>
          <p:nvPr>
            <p:ph type="dt" sz="half" idx="10"/>
          </p:nvPr>
        </p:nvSpPr>
        <p:spPr/>
        <p:txBody>
          <a:bodyPr/>
          <a:lstStyle/>
          <a:p>
            <a:fld id="{968505FD-053B-47C4-B9BE-A64CC0824E06}" type="datetimeFigureOut">
              <a:rPr lang="en-US" smtClean="0">
                <a:solidFill>
                  <a:prstClr val="black">
                    <a:tint val="95000"/>
                  </a:prstClr>
                </a:solidFill>
                <a:latin typeface="Corbel"/>
              </a:rPr>
              <a:pPr/>
              <a:t>10/14/2019</a:t>
            </a:fld>
            <a:endParaRPr lang="en-US">
              <a:solidFill>
                <a:prstClr val="black">
                  <a:tint val="95000"/>
                </a:prstClr>
              </a:solidFill>
              <a:latin typeface="Corbel"/>
            </a:endParaRPr>
          </a:p>
        </p:txBody>
      </p:sp>
      <p:sp>
        <p:nvSpPr>
          <p:cNvPr id="4" name="Footer Placeholder 3"/>
          <p:cNvSpPr>
            <a:spLocks noGrp="1"/>
          </p:cNvSpPr>
          <p:nvPr>
            <p:ph type="ftr" sz="quarter" idx="11"/>
          </p:nvPr>
        </p:nvSpPr>
        <p:spPr/>
        <p:txBody>
          <a:bodyPr/>
          <a:lstStyle/>
          <a:p>
            <a:endParaRPr lang="en-US">
              <a:solidFill>
                <a:prstClr val="black">
                  <a:tint val="95000"/>
                </a:prstClr>
              </a:solidFill>
              <a:latin typeface="Corbel"/>
            </a:endParaRPr>
          </a:p>
        </p:txBody>
      </p:sp>
      <p:sp>
        <p:nvSpPr>
          <p:cNvPr id="5" name="Slide Number Placeholder 4"/>
          <p:cNvSpPr>
            <a:spLocks noGrp="1"/>
          </p:cNvSpPr>
          <p:nvPr>
            <p:ph type="sldNum" sz="quarter" idx="12"/>
          </p:nvPr>
        </p:nvSpPr>
        <p:spPr/>
        <p:txBody>
          <a:bodyPr/>
          <a:lstStyle/>
          <a:p>
            <a:fld id="{5CA8C7E4-D10A-4A6B-806E-F5DCAF195BAA}" type="slidenum">
              <a:rPr lang="en-US" smtClean="0">
                <a:solidFill>
                  <a:prstClr val="black">
                    <a:tint val="95000"/>
                  </a:prstClr>
                </a:solidFill>
                <a:latin typeface="Corbel"/>
              </a:rPr>
              <a:pPr/>
              <a:t>‹#›</a:t>
            </a:fld>
            <a:endParaRPr lang="en-US">
              <a:solidFill>
                <a:prstClr val="black">
                  <a:tint val="95000"/>
                </a:prstClr>
              </a:solidFill>
              <a:latin typeface="Corbel"/>
            </a:endParaRPr>
          </a:p>
        </p:txBody>
      </p:sp>
    </p:spTree>
    <p:extLst>
      <p:ext uri="{BB962C8B-B14F-4D97-AF65-F5344CB8AC3E}">
        <p14:creationId xmlns:p14="http://schemas.microsoft.com/office/powerpoint/2010/main" val="15209865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8505FD-053B-47C4-B9BE-A64CC0824E06}" type="datetimeFigureOut">
              <a:rPr lang="en-US" smtClean="0">
                <a:solidFill>
                  <a:prstClr val="black">
                    <a:tint val="95000"/>
                  </a:prstClr>
                </a:solidFill>
                <a:latin typeface="Corbel"/>
              </a:rPr>
              <a:pPr/>
              <a:t>10/14/2019</a:t>
            </a:fld>
            <a:endParaRPr lang="en-US">
              <a:solidFill>
                <a:prstClr val="black">
                  <a:tint val="95000"/>
                </a:prstClr>
              </a:solidFill>
              <a:latin typeface="Corbel"/>
            </a:endParaRPr>
          </a:p>
        </p:txBody>
      </p:sp>
      <p:sp>
        <p:nvSpPr>
          <p:cNvPr id="3" name="Footer Placeholder 2"/>
          <p:cNvSpPr>
            <a:spLocks noGrp="1"/>
          </p:cNvSpPr>
          <p:nvPr>
            <p:ph type="ftr" sz="quarter" idx="11"/>
          </p:nvPr>
        </p:nvSpPr>
        <p:spPr/>
        <p:txBody>
          <a:bodyPr/>
          <a:lstStyle/>
          <a:p>
            <a:endParaRPr lang="en-US">
              <a:solidFill>
                <a:prstClr val="black">
                  <a:tint val="95000"/>
                </a:prstClr>
              </a:solidFill>
              <a:latin typeface="Corbel"/>
            </a:endParaRPr>
          </a:p>
        </p:txBody>
      </p:sp>
      <p:sp>
        <p:nvSpPr>
          <p:cNvPr id="4" name="Slide Number Placeholder 3"/>
          <p:cNvSpPr>
            <a:spLocks noGrp="1"/>
          </p:cNvSpPr>
          <p:nvPr>
            <p:ph type="sldNum" sz="quarter" idx="12"/>
          </p:nvPr>
        </p:nvSpPr>
        <p:spPr/>
        <p:txBody>
          <a:bodyPr/>
          <a:lstStyle/>
          <a:p>
            <a:fld id="{5CA8C7E4-D10A-4A6B-806E-F5DCAF195BAA}" type="slidenum">
              <a:rPr lang="en-US" smtClean="0">
                <a:solidFill>
                  <a:prstClr val="black">
                    <a:tint val="95000"/>
                  </a:prstClr>
                </a:solidFill>
                <a:latin typeface="Corbel"/>
              </a:rPr>
              <a:pPr/>
              <a:t>‹#›</a:t>
            </a:fld>
            <a:endParaRPr lang="en-US">
              <a:solidFill>
                <a:prstClr val="black">
                  <a:tint val="95000"/>
                </a:prstClr>
              </a:solidFill>
              <a:latin typeface="Corbel"/>
            </a:endParaRPr>
          </a:p>
        </p:txBody>
      </p:sp>
    </p:spTree>
    <p:extLst>
      <p:ext uri="{BB962C8B-B14F-4D97-AF65-F5344CB8AC3E}">
        <p14:creationId xmlns:p14="http://schemas.microsoft.com/office/powerpoint/2010/main" val="22318973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23784" y="152400"/>
            <a:ext cx="3364992" cy="978408"/>
          </a:xfrm>
        </p:spPr>
        <p:txBody>
          <a:bodyPr vert="horz" lIns="73136" rIns="45710" bIns="0" rtlCol="0" anchor="b">
            <a:normAutofit/>
            <a:sp3d prstMaterial="matte"/>
          </a:bodyPr>
          <a:lstStyle>
            <a:lvl1pPr algn="l">
              <a:defRPr sz="2000" b="0"/>
            </a:lvl1pPr>
            <a:extLst/>
          </a:lstStyle>
          <a:p>
            <a:r>
              <a:rPr kumimoji="0" lang="en-US"/>
              <a:t>Click to edit Master title style</a:t>
            </a:r>
          </a:p>
        </p:txBody>
      </p:sp>
      <p:sp>
        <p:nvSpPr>
          <p:cNvPr id="3" name="Content Placeholder 2"/>
          <p:cNvSpPr>
            <a:spLocks noGrp="1"/>
          </p:cNvSpPr>
          <p:nvPr>
            <p:ph idx="1"/>
          </p:nvPr>
        </p:nvSpPr>
        <p:spPr>
          <a:xfrm>
            <a:off x="4025839" y="1743135"/>
            <a:ext cx="7894188" cy="455888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extLs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Text Placeholder 3"/>
          <p:cNvSpPr>
            <a:spLocks noGrp="1"/>
          </p:cNvSpPr>
          <p:nvPr>
            <p:ph type="body" sz="half" idx="2"/>
          </p:nvPr>
        </p:nvSpPr>
        <p:spPr>
          <a:xfrm>
            <a:off x="223784" y="1730019"/>
            <a:ext cx="3291840" cy="4572000"/>
          </a:xfrm>
        </p:spPr>
        <p:txBody>
          <a:bodyPr/>
          <a:lstStyle>
            <a:lvl1pPr marL="0" indent="0">
              <a:buNone/>
              <a:defRPr sz="1400"/>
            </a:lvl1pPr>
            <a:lvl2pPr marL="457103" indent="0">
              <a:buNone/>
              <a:defRPr sz="1200"/>
            </a:lvl2pPr>
            <a:lvl3pPr marL="914206" indent="0">
              <a:buNone/>
              <a:defRPr sz="1000"/>
            </a:lvl3pPr>
            <a:lvl4pPr marL="1371310" indent="0">
              <a:buNone/>
              <a:defRPr sz="900"/>
            </a:lvl4pPr>
            <a:lvl5pPr marL="1828412" indent="0">
              <a:buNone/>
              <a:defRPr sz="900"/>
            </a:lvl5pPr>
            <a:lvl6pPr marL="2285516" indent="0">
              <a:buNone/>
              <a:defRPr sz="900"/>
            </a:lvl6pPr>
            <a:lvl7pPr marL="2742618" indent="0">
              <a:buNone/>
              <a:defRPr sz="900"/>
            </a:lvl7pPr>
            <a:lvl8pPr marL="3199722" indent="0">
              <a:buNone/>
              <a:defRPr sz="900"/>
            </a:lvl8pPr>
            <a:lvl9pPr marL="3656825" indent="0">
              <a:buNone/>
              <a:defRPr sz="900"/>
            </a:lvl9pPr>
            <a:extLst/>
          </a:lstStyle>
          <a:p>
            <a:pPr lvl="0" eaLnBrk="1" latinLnBrk="0" hangingPunct="1"/>
            <a:r>
              <a:rPr kumimoji="0" lang="en-US"/>
              <a:t>Click to edit Master text styles</a:t>
            </a:r>
          </a:p>
        </p:txBody>
      </p:sp>
      <p:sp>
        <p:nvSpPr>
          <p:cNvPr id="5" name="Date Placeholder 4"/>
          <p:cNvSpPr>
            <a:spLocks noGrp="1"/>
          </p:cNvSpPr>
          <p:nvPr>
            <p:ph type="dt" sz="half" idx="10"/>
          </p:nvPr>
        </p:nvSpPr>
        <p:spPr/>
        <p:txBody>
          <a:bodyPr/>
          <a:lstStyle/>
          <a:p>
            <a:fld id="{968505FD-053B-47C4-B9BE-A64CC0824E06}" type="datetimeFigureOut">
              <a:rPr lang="en-US" smtClean="0">
                <a:solidFill>
                  <a:prstClr val="black">
                    <a:tint val="95000"/>
                  </a:prstClr>
                </a:solidFill>
                <a:latin typeface="Corbel"/>
              </a:rPr>
              <a:pPr/>
              <a:t>10/14/2019</a:t>
            </a:fld>
            <a:endParaRPr lang="en-US">
              <a:solidFill>
                <a:prstClr val="black">
                  <a:tint val="95000"/>
                </a:prstClr>
              </a:solidFill>
              <a:latin typeface="Corbel"/>
            </a:endParaRPr>
          </a:p>
        </p:txBody>
      </p:sp>
      <p:sp>
        <p:nvSpPr>
          <p:cNvPr id="6" name="Footer Placeholder 5"/>
          <p:cNvSpPr>
            <a:spLocks noGrp="1"/>
          </p:cNvSpPr>
          <p:nvPr>
            <p:ph type="ftr" sz="quarter" idx="11"/>
          </p:nvPr>
        </p:nvSpPr>
        <p:spPr/>
        <p:txBody>
          <a:bodyPr/>
          <a:lstStyle/>
          <a:p>
            <a:endParaRPr lang="en-US">
              <a:solidFill>
                <a:prstClr val="black">
                  <a:tint val="95000"/>
                </a:prstClr>
              </a:solidFill>
              <a:latin typeface="Corbel"/>
            </a:endParaRPr>
          </a:p>
        </p:txBody>
      </p:sp>
      <p:sp>
        <p:nvSpPr>
          <p:cNvPr id="7" name="Slide Number Placeholder 6"/>
          <p:cNvSpPr>
            <a:spLocks noGrp="1"/>
          </p:cNvSpPr>
          <p:nvPr>
            <p:ph type="sldNum" sz="quarter" idx="12"/>
          </p:nvPr>
        </p:nvSpPr>
        <p:spPr/>
        <p:txBody>
          <a:bodyPr/>
          <a:lstStyle/>
          <a:p>
            <a:fld id="{5CA8C7E4-D10A-4A6B-806E-F5DCAF195BAA}" type="slidenum">
              <a:rPr lang="en-US" smtClean="0">
                <a:solidFill>
                  <a:prstClr val="black">
                    <a:tint val="95000"/>
                  </a:prstClr>
                </a:solidFill>
                <a:latin typeface="Corbel"/>
              </a:rPr>
              <a:pPr/>
              <a:t>‹#›</a:t>
            </a:fld>
            <a:endParaRPr lang="en-US">
              <a:solidFill>
                <a:prstClr val="black">
                  <a:tint val="95000"/>
                </a:prstClr>
              </a:solidFill>
              <a:latin typeface="Corbel"/>
            </a:endParaRPr>
          </a:p>
        </p:txBody>
      </p:sp>
      <p:sp>
        <p:nvSpPr>
          <p:cNvPr id="12" name="Rectangle 11"/>
          <p:cNvSpPr/>
          <p:nvPr/>
        </p:nvSpPr>
        <p:spPr bwMode="invGray">
          <a:xfrm>
            <a:off x="3807649" y="0"/>
            <a:ext cx="60960" cy="1453896"/>
          </a:xfrm>
          <a:prstGeom prst="rect">
            <a:avLst/>
          </a:prstGeom>
          <a:solidFill>
            <a:srgbClr val="FFFFFF"/>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lIns="91421" tIns="45710" rIns="91421" bIns="45710" rtlCol="0" anchor="ctr"/>
          <a:lstStyle/>
          <a:p>
            <a:pPr algn="ctr" defTabSz="914206"/>
            <a:endParaRPr lang="en-US" sz="1800">
              <a:solidFill>
                <a:prstClr val="white"/>
              </a:solidFill>
              <a:latin typeface="Corbel"/>
            </a:endParaRPr>
          </a:p>
        </p:txBody>
      </p:sp>
      <p:sp>
        <p:nvSpPr>
          <p:cNvPr id="9" name="Rectangle 8"/>
          <p:cNvSpPr/>
          <p:nvPr/>
        </p:nvSpPr>
        <p:spPr bwMode="invGray">
          <a:xfrm>
            <a:off x="3807649" y="0"/>
            <a:ext cx="60960" cy="1453896"/>
          </a:xfrm>
          <a:prstGeom prst="rect">
            <a:avLst/>
          </a:prstGeom>
          <a:solidFill>
            <a:srgbClr val="FFFFFF"/>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lIns="91421" tIns="45710" rIns="91421" bIns="45710" rtlCol="0" anchor="ctr"/>
          <a:lstStyle/>
          <a:p>
            <a:pPr algn="ctr" defTabSz="914206"/>
            <a:endParaRPr lang="en-US" sz="1800">
              <a:solidFill>
                <a:prstClr val="white"/>
              </a:solidFill>
              <a:latin typeface="Corbel"/>
            </a:endParaRPr>
          </a:p>
        </p:txBody>
      </p:sp>
    </p:spTree>
    <p:extLst>
      <p:ext uri="{BB962C8B-B14F-4D97-AF65-F5344CB8AC3E}">
        <p14:creationId xmlns:p14="http://schemas.microsoft.com/office/powerpoint/2010/main" val="4010364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19457" y="155448"/>
            <a:ext cx="3366867" cy="978408"/>
          </a:xfrm>
        </p:spPr>
        <p:txBody>
          <a:bodyPr lIns="73136" bIns="0" anchor="b">
            <a:sp3d prstMaterial="matte"/>
          </a:bodyPr>
          <a:lstStyle>
            <a:lvl1pPr algn="l">
              <a:defRPr sz="2000" b="0"/>
            </a:lvl1pPr>
            <a:extLst/>
          </a:lstStyle>
          <a:p>
            <a:r>
              <a:rPr kumimoji="0" lang="en-US"/>
              <a:t>Click to edit Master title style</a:t>
            </a:r>
          </a:p>
        </p:txBody>
      </p:sp>
      <p:sp>
        <p:nvSpPr>
          <p:cNvPr id="3" name="Picture Placeholder 2"/>
          <p:cNvSpPr>
            <a:spLocks noGrp="1"/>
          </p:cNvSpPr>
          <p:nvPr>
            <p:ph type="pic" idx="1"/>
          </p:nvPr>
        </p:nvSpPr>
        <p:spPr>
          <a:xfrm>
            <a:off x="3871752" y="1484808"/>
            <a:ext cx="8329863" cy="5373192"/>
          </a:xfrm>
          <a:solidFill>
            <a:schemeClr val="bg2">
              <a:shade val="75000"/>
            </a:schemeClr>
          </a:solidFill>
        </p:spPr>
        <p:txBody>
          <a:bodyPr/>
          <a:lstStyle>
            <a:lvl1pPr marL="0" indent="0">
              <a:buNone/>
              <a:defRPr sz="3200"/>
            </a:lvl1pPr>
            <a:lvl2pPr marL="457103" indent="0">
              <a:buNone/>
              <a:defRPr sz="2800"/>
            </a:lvl2pPr>
            <a:lvl3pPr marL="914206" indent="0">
              <a:buNone/>
              <a:defRPr sz="2400"/>
            </a:lvl3pPr>
            <a:lvl4pPr marL="1371310" indent="0">
              <a:buNone/>
              <a:defRPr sz="2000"/>
            </a:lvl4pPr>
            <a:lvl5pPr marL="1828412" indent="0">
              <a:buNone/>
              <a:defRPr sz="2000"/>
            </a:lvl5pPr>
            <a:lvl6pPr marL="2285516" indent="0">
              <a:buNone/>
              <a:defRPr sz="2000"/>
            </a:lvl6pPr>
            <a:lvl7pPr marL="2742618" indent="0">
              <a:buNone/>
              <a:defRPr sz="2000"/>
            </a:lvl7pPr>
            <a:lvl8pPr marL="3199722" indent="0">
              <a:buNone/>
              <a:defRPr sz="2000"/>
            </a:lvl8pPr>
            <a:lvl9pPr marL="3656825" indent="0">
              <a:buNone/>
              <a:defRPr sz="2000"/>
            </a:lvl9pPr>
            <a:extLst/>
          </a:lstStyle>
          <a:p>
            <a:r>
              <a:rPr kumimoji="0" lang="en-US"/>
              <a:t>Click icon to add picture</a:t>
            </a:r>
            <a:endParaRPr kumimoji="0" lang="en-US" dirty="0"/>
          </a:p>
        </p:txBody>
      </p:sp>
      <p:sp>
        <p:nvSpPr>
          <p:cNvPr id="4" name="Text Placeholder 3"/>
          <p:cNvSpPr>
            <a:spLocks noGrp="1"/>
          </p:cNvSpPr>
          <p:nvPr>
            <p:ph type="body" sz="half" idx="2"/>
          </p:nvPr>
        </p:nvSpPr>
        <p:spPr>
          <a:xfrm>
            <a:off x="219459" y="1728216"/>
            <a:ext cx="3291840" cy="4572000"/>
          </a:xfrm>
        </p:spPr>
        <p:txBody>
          <a:bodyPr/>
          <a:lstStyle>
            <a:lvl1pPr marL="0" indent="0">
              <a:buNone/>
              <a:defRPr sz="1400"/>
            </a:lvl1pPr>
            <a:lvl2pPr marL="457103" indent="0">
              <a:buNone/>
              <a:defRPr sz="1200"/>
            </a:lvl2pPr>
            <a:lvl3pPr marL="914206" indent="0">
              <a:buNone/>
              <a:defRPr sz="1000"/>
            </a:lvl3pPr>
            <a:lvl4pPr marL="1371310" indent="0">
              <a:buNone/>
              <a:defRPr sz="900"/>
            </a:lvl4pPr>
            <a:lvl5pPr marL="1828412" indent="0">
              <a:buNone/>
              <a:defRPr sz="900"/>
            </a:lvl5pPr>
            <a:lvl6pPr marL="2285516" indent="0">
              <a:buNone/>
              <a:defRPr sz="900"/>
            </a:lvl6pPr>
            <a:lvl7pPr marL="2742618" indent="0">
              <a:buNone/>
              <a:defRPr sz="900"/>
            </a:lvl7pPr>
            <a:lvl8pPr marL="3199722" indent="0">
              <a:buNone/>
              <a:defRPr sz="900"/>
            </a:lvl8pPr>
            <a:lvl9pPr marL="3656825" indent="0">
              <a:buNone/>
              <a:defRPr sz="900"/>
            </a:lvl9pPr>
            <a:extLst/>
          </a:lstStyle>
          <a:p>
            <a:pPr lvl="0" eaLnBrk="1" latinLnBrk="0" hangingPunct="1"/>
            <a:r>
              <a:rPr kumimoji="0" lang="en-US"/>
              <a:t>Click to edit Master text styles</a:t>
            </a:r>
          </a:p>
        </p:txBody>
      </p:sp>
      <p:sp>
        <p:nvSpPr>
          <p:cNvPr id="5" name="Date Placeholder 4"/>
          <p:cNvSpPr>
            <a:spLocks noGrp="1"/>
          </p:cNvSpPr>
          <p:nvPr>
            <p:ph type="dt" sz="half" idx="10"/>
          </p:nvPr>
        </p:nvSpPr>
        <p:spPr>
          <a:xfrm>
            <a:off x="219459" y="1170432"/>
            <a:ext cx="3364992" cy="201168"/>
          </a:xfrm>
        </p:spPr>
        <p:txBody>
          <a:bodyPr/>
          <a:lstStyle/>
          <a:p>
            <a:fld id="{968505FD-053B-47C4-B9BE-A64CC0824E06}" type="datetimeFigureOut">
              <a:rPr lang="en-US" smtClean="0">
                <a:solidFill>
                  <a:prstClr val="black">
                    <a:tint val="95000"/>
                  </a:prstClr>
                </a:solidFill>
                <a:latin typeface="Corbel"/>
              </a:rPr>
              <a:pPr/>
              <a:t>10/14/2019</a:t>
            </a:fld>
            <a:endParaRPr lang="en-US">
              <a:solidFill>
                <a:prstClr val="black">
                  <a:tint val="95000"/>
                </a:prstClr>
              </a:solidFill>
              <a:latin typeface="Corbel"/>
            </a:endParaRPr>
          </a:p>
        </p:txBody>
      </p:sp>
      <p:sp>
        <p:nvSpPr>
          <p:cNvPr id="11" name="Rectangle 10"/>
          <p:cNvSpPr/>
          <p:nvPr/>
        </p:nvSpPr>
        <p:spPr>
          <a:xfrm>
            <a:off x="3807649" y="0"/>
            <a:ext cx="60960" cy="6858000"/>
          </a:xfrm>
          <a:prstGeom prst="rect">
            <a:avLst/>
          </a:prstGeom>
          <a:solidFill>
            <a:srgbClr val="FFFFFF"/>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lIns="91421" tIns="45710" rIns="91421" bIns="45710" rtlCol="0" anchor="ctr"/>
          <a:lstStyle/>
          <a:p>
            <a:pPr algn="ctr" defTabSz="914206"/>
            <a:endParaRPr lang="en-US" sz="1800">
              <a:solidFill>
                <a:prstClr val="white"/>
              </a:solidFill>
              <a:latin typeface="Corbel"/>
            </a:endParaRPr>
          </a:p>
        </p:txBody>
      </p:sp>
      <p:sp>
        <p:nvSpPr>
          <p:cNvPr id="9" name="Rectangle 8"/>
          <p:cNvSpPr/>
          <p:nvPr/>
        </p:nvSpPr>
        <p:spPr bwMode="invGray">
          <a:xfrm>
            <a:off x="3807649" y="0"/>
            <a:ext cx="60960" cy="6858000"/>
          </a:xfrm>
          <a:prstGeom prst="rect">
            <a:avLst/>
          </a:prstGeom>
          <a:solidFill>
            <a:srgbClr val="FFFFFF"/>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lIns="91421" tIns="45710" rIns="91421" bIns="45710" rtlCol="0" anchor="ctr"/>
          <a:lstStyle/>
          <a:p>
            <a:pPr algn="ctr" defTabSz="914206"/>
            <a:endParaRPr lang="en-US" sz="1800">
              <a:solidFill>
                <a:prstClr val="white"/>
              </a:solidFill>
              <a:latin typeface="Corbel"/>
            </a:endParaRPr>
          </a:p>
        </p:txBody>
      </p:sp>
      <p:sp>
        <p:nvSpPr>
          <p:cNvPr id="6" name="Footer Placeholder 5"/>
          <p:cNvSpPr>
            <a:spLocks noGrp="1"/>
          </p:cNvSpPr>
          <p:nvPr>
            <p:ph type="ftr" sz="quarter" idx="11"/>
          </p:nvPr>
        </p:nvSpPr>
        <p:spPr>
          <a:xfrm>
            <a:off x="4047744" y="1170432"/>
            <a:ext cx="6925056" cy="201168"/>
          </a:xfrm>
        </p:spPr>
        <p:txBody>
          <a:bodyPr/>
          <a:lstStyle>
            <a:lvl1pPr>
              <a:defRPr>
                <a:solidFill>
                  <a:schemeClr val="bg1">
                    <a:shade val="50000"/>
                  </a:schemeClr>
                </a:solidFill>
              </a:defRPr>
            </a:lvl1pPr>
          </a:lstStyle>
          <a:p>
            <a:endParaRPr lang="en-US">
              <a:solidFill>
                <a:prstClr val="white">
                  <a:shade val="50000"/>
                </a:prstClr>
              </a:solidFill>
              <a:latin typeface="Corbel"/>
            </a:endParaRPr>
          </a:p>
        </p:txBody>
      </p:sp>
      <p:sp>
        <p:nvSpPr>
          <p:cNvPr id="7" name="Slide Number Placeholder 6"/>
          <p:cNvSpPr>
            <a:spLocks noGrp="1"/>
          </p:cNvSpPr>
          <p:nvPr>
            <p:ph type="sldNum" sz="quarter" idx="12"/>
          </p:nvPr>
        </p:nvSpPr>
        <p:spPr>
          <a:xfrm>
            <a:off x="11119104" y="1170432"/>
            <a:ext cx="978485" cy="201168"/>
          </a:xfrm>
        </p:spPr>
        <p:txBody>
          <a:bodyPr/>
          <a:lstStyle/>
          <a:p>
            <a:fld id="{5CA8C7E4-D10A-4A6B-806E-F5DCAF195BAA}" type="slidenum">
              <a:rPr lang="en-US" smtClean="0">
                <a:solidFill>
                  <a:prstClr val="black">
                    <a:tint val="95000"/>
                  </a:prstClr>
                </a:solidFill>
                <a:latin typeface="Corbel"/>
              </a:rPr>
              <a:pPr/>
              <a:t>‹#›</a:t>
            </a:fld>
            <a:endParaRPr lang="en-US">
              <a:solidFill>
                <a:prstClr val="black">
                  <a:tint val="95000"/>
                </a:prstClr>
              </a:solidFill>
              <a:latin typeface="Corbel"/>
            </a:endParaRPr>
          </a:p>
        </p:txBody>
      </p:sp>
    </p:spTree>
    <p:extLst>
      <p:ext uri="{BB962C8B-B14F-4D97-AF65-F5344CB8AC3E}">
        <p14:creationId xmlns:p14="http://schemas.microsoft.com/office/powerpoint/2010/main" val="360401312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p:nvSpPr>
        <p:spPr bwMode="invGray">
          <a:xfrm>
            <a:off x="0" y="1435895"/>
            <a:ext cx="12192000" cy="45720"/>
          </a:xfrm>
          <a:prstGeom prst="rect">
            <a:avLst/>
          </a:prstGeom>
          <a:solidFill>
            <a:srgbClr val="FFFFFF"/>
          </a:solidFill>
          <a:ln w="48000" cap="flat" cmpd="thickThin" algn="ctr">
            <a:noFill/>
            <a:prstDash val="solid"/>
          </a:ln>
          <a:effectLst>
            <a:outerShdw blurRad="31750" dist="10160" dir="5400000" algn="tl" rotWithShape="0">
              <a:srgbClr val="000000">
                <a:alpha val="60000"/>
              </a:srgbClr>
            </a:outerShdw>
          </a:effectLst>
        </p:spPr>
        <p:style>
          <a:lnRef idx="2">
            <a:schemeClr val="accent1"/>
          </a:lnRef>
          <a:fillRef idx="1">
            <a:schemeClr val="accent1"/>
          </a:fillRef>
          <a:effectRef idx="0">
            <a:schemeClr val="accent1"/>
          </a:effectRef>
          <a:fontRef idx="minor">
            <a:schemeClr val="lt1"/>
          </a:fontRef>
        </p:style>
        <p:txBody>
          <a:bodyPr lIns="91421" tIns="45710" rIns="91421" bIns="45710" rtlCol="0" anchor="ctr"/>
          <a:lstStyle/>
          <a:p>
            <a:pPr algn="ctr" defTabSz="914206"/>
            <a:endParaRPr lang="en-US" sz="1800">
              <a:solidFill>
                <a:prstClr val="white"/>
              </a:solidFill>
              <a:latin typeface="Corbel"/>
            </a:endParaRPr>
          </a:p>
        </p:txBody>
      </p:sp>
      <p:sp>
        <p:nvSpPr>
          <p:cNvPr id="7" name="Rectangle 6"/>
          <p:cNvSpPr/>
          <p:nvPr/>
        </p:nvSpPr>
        <p:spPr bwMode="ltGray">
          <a:xfrm>
            <a:off x="13" y="10"/>
            <a:ext cx="12191999" cy="1433733"/>
          </a:xfrm>
          <a:prstGeom prst="rect">
            <a:avLst/>
          </a:prstGeom>
          <a:solidFill>
            <a:srgbClr val="000000"/>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lIns="91421" tIns="45710" rIns="91421" bIns="45710" rtlCol="0" anchor="ctr"/>
          <a:lstStyle/>
          <a:p>
            <a:pPr algn="ctr" defTabSz="914206"/>
            <a:endParaRPr lang="en-US" sz="1800">
              <a:solidFill>
                <a:prstClr val="white"/>
              </a:solidFill>
              <a:latin typeface="Corbel"/>
            </a:endParaRPr>
          </a:p>
        </p:txBody>
      </p:sp>
      <p:sp>
        <p:nvSpPr>
          <p:cNvPr id="2" name="Title Placeholder 1"/>
          <p:cNvSpPr>
            <a:spLocks noGrp="1"/>
          </p:cNvSpPr>
          <p:nvPr>
            <p:ph type="title"/>
          </p:nvPr>
        </p:nvSpPr>
        <p:spPr>
          <a:xfrm>
            <a:off x="609600" y="152410"/>
            <a:ext cx="10972800" cy="1251063"/>
          </a:xfrm>
          <a:prstGeom prst="rect">
            <a:avLst/>
          </a:prstGeom>
        </p:spPr>
        <p:txBody>
          <a:bodyPr vert="horz" lIns="91421" tIns="45710" rIns="45710" bIns="45710" rtlCol="0" anchor="ctr">
            <a:normAutofit/>
            <a:scene3d>
              <a:camera prst="orthographicFront"/>
              <a:lightRig rig="threePt" dir="t">
                <a:rot lat="0" lon="0" rev="4800000"/>
              </a:lightRig>
            </a:scene3d>
            <a:sp3d prstMaterial="matte">
              <a:bevelT w="50800" h="10160"/>
            </a:sp3d>
          </a:bodyPr>
          <a:lstStyle/>
          <a:p>
            <a:r>
              <a:rPr kumimoji="0" lang="en-US"/>
              <a:t>Click to edit Master title style</a:t>
            </a:r>
          </a:p>
        </p:txBody>
      </p:sp>
      <p:sp>
        <p:nvSpPr>
          <p:cNvPr id="3" name="Text Placeholder 2"/>
          <p:cNvSpPr>
            <a:spLocks noGrp="1"/>
          </p:cNvSpPr>
          <p:nvPr>
            <p:ph type="body" idx="1"/>
          </p:nvPr>
        </p:nvSpPr>
        <p:spPr>
          <a:xfrm>
            <a:off x="609600" y="1775194"/>
            <a:ext cx="10972800" cy="4625609"/>
          </a:xfrm>
          <a:prstGeom prst="rect">
            <a:avLst/>
          </a:prstGeom>
        </p:spPr>
        <p:txBody>
          <a:bodyPr vert="horz" lIns="54852" tIns="91421" rIns="91421" bIns="45710" rtlCol="0">
            <a:norm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a:p>
            <a:pPr lvl="4" eaLnBrk="1" latinLnBrk="0" hangingPunct="1"/>
            <a:r>
              <a:rPr kumimoji="0" lang="en-US"/>
              <a:t>Fifth level</a:t>
            </a:r>
          </a:p>
        </p:txBody>
      </p:sp>
      <p:sp>
        <p:nvSpPr>
          <p:cNvPr id="4" name="Date Placeholder 3"/>
          <p:cNvSpPr>
            <a:spLocks noGrp="1"/>
          </p:cNvSpPr>
          <p:nvPr>
            <p:ph type="dt" sz="half" idx="2"/>
          </p:nvPr>
        </p:nvSpPr>
        <p:spPr>
          <a:xfrm>
            <a:off x="609600" y="6476999"/>
            <a:ext cx="2844800" cy="274320"/>
          </a:xfrm>
          <a:prstGeom prst="rect">
            <a:avLst/>
          </a:prstGeom>
        </p:spPr>
        <p:txBody>
          <a:bodyPr vert="horz" lIns="109704" tIns="45710" rIns="45710" bIns="0" rtlCol="0" anchor="b"/>
          <a:lstStyle>
            <a:lvl1pPr algn="l" eaLnBrk="1" latinLnBrk="0" hangingPunct="1">
              <a:defRPr kumimoji="0" sz="1200">
                <a:solidFill>
                  <a:schemeClr val="tx1">
                    <a:tint val="95000"/>
                  </a:schemeClr>
                </a:solidFill>
              </a:defRPr>
            </a:lvl1pPr>
            <a:extLst/>
          </a:lstStyle>
          <a:p>
            <a:pPr defTabSz="914206"/>
            <a:fld id="{968505FD-053B-47C4-B9BE-A64CC0824E06}" type="datetimeFigureOut">
              <a:rPr lang="en-US" smtClean="0">
                <a:solidFill>
                  <a:prstClr val="black">
                    <a:tint val="95000"/>
                  </a:prstClr>
                </a:solidFill>
              </a:rPr>
              <a:pPr defTabSz="914206"/>
              <a:t>10/14/2019</a:t>
            </a:fld>
            <a:endParaRPr lang="en-US">
              <a:solidFill>
                <a:prstClr val="black">
                  <a:tint val="95000"/>
                </a:prstClr>
              </a:solidFill>
            </a:endParaRPr>
          </a:p>
        </p:txBody>
      </p:sp>
      <p:sp>
        <p:nvSpPr>
          <p:cNvPr id="5" name="Footer Placeholder 4"/>
          <p:cNvSpPr>
            <a:spLocks noGrp="1"/>
          </p:cNvSpPr>
          <p:nvPr>
            <p:ph type="ftr" sz="quarter" idx="3"/>
          </p:nvPr>
        </p:nvSpPr>
        <p:spPr>
          <a:xfrm>
            <a:off x="3520817" y="6476999"/>
            <a:ext cx="7343625" cy="274320"/>
          </a:xfrm>
          <a:prstGeom prst="rect">
            <a:avLst/>
          </a:prstGeom>
        </p:spPr>
        <p:txBody>
          <a:bodyPr vert="horz" lIns="45710" tIns="45710" rIns="45710" bIns="0" rtlCol="0" anchor="b"/>
          <a:lstStyle>
            <a:lvl1pPr algn="l" eaLnBrk="1" latinLnBrk="0" hangingPunct="1">
              <a:defRPr kumimoji="0" sz="1200">
                <a:solidFill>
                  <a:schemeClr val="tx1">
                    <a:tint val="95000"/>
                  </a:schemeClr>
                </a:solidFill>
              </a:defRPr>
            </a:lvl1pPr>
            <a:extLst/>
          </a:lstStyle>
          <a:p>
            <a:pPr defTabSz="914206"/>
            <a:endParaRPr lang="en-US">
              <a:solidFill>
                <a:prstClr val="black">
                  <a:tint val="95000"/>
                </a:prstClr>
              </a:solidFill>
            </a:endParaRPr>
          </a:p>
        </p:txBody>
      </p:sp>
      <p:sp>
        <p:nvSpPr>
          <p:cNvPr id="6" name="Slide Number Placeholder 5"/>
          <p:cNvSpPr>
            <a:spLocks noGrp="1"/>
          </p:cNvSpPr>
          <p:nvPr>
            <p:ph type="sldNum" sz="quarter" idx="4"/>
          </p:nvPr>
        </p:nvSpPr>
        <p:spPr>
          <a:xfrm>
            <a:off x="10939196" y="6476999"/>
            <a:ext cx="978485" cy="274320"/>
          </a:xfrm>
          <a:prstGeom prst="rect">
            <a:avLst/>
          </a:prstGeom>
        </p:spPr>
        <p:txBody>
          <a:bodyPr vert="horz" lIns="91421" tIns="45710" rIns="91421" bIns="0" rtlCol="0" anchor="b"/>
          <a:lstStyle>
            <a:lvl1pPr algn="r" eaLnBrk="1" latinLnBrk="0" hangingPunct="1">
              <a:defRPr kumimoji="0" sz="1200">
                <a:solidFill>
                  <a:schemeClr val="tx1">
                    <a:tint val="95000"/>
                  </a:schemeClr>
                </a:solidFill>
              </a:defRPr>
            </a:lvl1pPr>
            <a:extLst/>
          </a:lstStyle>
          <a:p>
            <a:pPr defTabSz="914206"/>
            <a:fld id="{5CA8C7E4-D10A-4A6B-806E-F5DCAF195BAA}" type="slidenum">
              <a:rPr lang="en-US" smtClean="0">
                <a:solidFill>
                  <a:prstClr val="black">
                    <a:tint val="95000"/>
                  </a:prstClr>
                </a:solidFill>
              </a:rPr>
              <a:pPr defTabSz="914206"/>
              <a:t>‹#›</a:t>
            </a:fld>
            <a:endParaRPr lang="en-US">
              <a:solidFill>
                <a:prstClr val="black">
                  <a:tint val="95000"/>
                </a:prstClr>
              </a:solidFill>
            </a:endParaRPr>
          </a:p>
        </p:txBody>
      </p:sp>
    </p:spTree>
    <p:extLst>
      <p:ext uri="{BB962C8B-B14F-4D97-AF65-F5344CB8AC3E}">
        <p14:creationId xmlns:p14="http://schemas.microsoft.com/office/powerpoint/2010/main" val="201008847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rtl="0" eaLnBrk="1" latinLnBrk="0" hangingPunct="1">
        <a:spcBef>
          <a:spcPct val="0"/>
        </a:spcBef>
        <a:buNone/>
        <a:defRPr kumimoji="0" sz="4500" b="1" kern="1200">
          <a:solidFill>
            <a:schemeClr val="accent1">
              <a:satMod val="150000"/>
            </a:schemeClr>
          </a:solidFill>
          <a:effectLst/>
          <a:latin typeface="+mj-lt"/>
          <a:ea typeface="+mj-ea"/>
          <a:cs typeface="+mj-cs"/>
        </a:defRPr>
      </a:lvl1pPr>
      <a:extLst/>
    </p:titleStyle>
    <p:bodyStyle>
      <a:lvl1pPr marL="438819" indent="-319972" algn="l" rtl="0" eaLnBrk="1" latinLnBrk="0" hangingPunct="1">
        <a:spcBef>
          <a:spcPts val="0"/>
        </a:spcBef>
        <a:buClr>
          <a:schemeClr val="accent1"/>
        </a:buClr>
        <a:buSzPct val="80000"/>
        <a:buFont typeface="Wingdings 2"/>
        <a:buChar char=""/>
        <a:defRPr kumimoji="0" sz="3200" kern="1200">
          <a:solidFill>
            <a:schemeClr val="tx1"/>
          </a:solidFill>
          <a:latin typeface="+mn-lt"/>
          <a:ea typeface="+mn-ea"/>
          <a:cs typeface="+mn-cs"/>
        </a:defRPr>
      </a:lvl1pPr>
      <a:lvl2pPr marL="731365" indent="-274262" algn="l" rtl="0" eaLnBrk="1" latinLnBrk="0" hangingPunct="1">
        <a:spcBef>
          <a:spcPct val="20000"/>
        </a:spcBef>
        <a:buClr>
          <a:schemeClr val="accent2"/>
        </a:buClr>
        <a:buSzPct val="90000"/>
        <a:buFont typeface="Wingdings"/>
        <a:buChar char=""/>
        <a:defRPr kumimoji="0" sz="2800" kern="1200">
          <a:solidFill>
            <a:schemeClr val="tx1"/>
          </a:solidFill>
          <a:latin typeface="+mn-lt"/>
          <a:ea typeface="+mn-ea"/>
          <a:cs typeface="+mn-cs"/>
        </a:defRPr>
      </a:lvl2pPr>
      <a:lvl3pPr marL="996485" indent="-228552" algn="l" rtl="0" eaLnBrk="1" latinLnBrk="0" hangingPunct="1">
        <a:spcBef>
          <a:spcPct val="20000"/>
        </a:spcBef>
        <a:buClr>
          <a:schemeClr val="accent3"/>
        </a:buClr>
        <a:buFont typeface="Arial"/>
        <a:buChar char="▪"/>
        <a:defRPr kumimoji="0" sz="2400" kern="1200">
          <a:solidFill>
            <a:schemeClr val="tx1"/>
          </a:solidFill>
          <a:latin typeface="+mn-lt"/>
          <a:ea typeface="+mn-ea"/>
          <a:cs typeface="+mn-cs"/>
        </a:defRPr>
      </a:lvl3pPr>
      <a:lvl4pPr marL="1215894" indent="-182840" algn="l" rtl="0" eaLnBrk="1" latinLnBrk="0" hangingPunct="1">
        <a:spcBef>
          <a:spcPct val="20000"/>
        </a:spcBef>
        <a:buClr>
          <a:schemeClr val="accent4"/>
        </a:buClr>
        <a:buFont typeface="Arial"/>
        <a:buChar char="▪"/>
        <a:defRPr kumimoji="0" sz="2000" kern="1200">
          <a:solidFill>
            <a:schemeClr val="tx1"/>
          </a:solidFill>
          <a:latin typeface="+mn-lt"/>
          <a:ea typeface="+mn-ea"/>
          <a:cs typeface="+mn-cs"/>
        </a:defRPr>
      </a:lvl4pPr>
      <a:lvl5pPr marL="1426162" indent="-182840" algn="l" rtl="0" eaLnBrk="1" latinLnBrk="0" hangingPunct="1">
        <a:spcBef>
          <a:spcPct val="20000"/>
        </a:spcBef>
        <a:buClr>
          <a:schemeClr val="accent5"/>
        </a:buClr>
        <a:buFont typeface="Wingdings 3"/>
        <a:buChar char=""/>
        <a:defRPr kumimoji="0" lang="en-US" sz="2000" kern="1200" smtClean="0">
          <a:solidFill>
            <a:schemeClr val="tx1"/>
          </a:solidFill>
          <a:latin typeface="+mn-lt"/>
          <a:ea typeface="+mn-ea"/>
          <a:cs typeface="+mn-cs"/>
        </a:defRPr>
      </a:lvl5pPr>
      <a:lvl6pPr marL="1627286" indent="-182840" algn="l" rtl="0" eaLnBrk="1" latinLnBrk="0" hangingPunct="1">
        <a:spcBef>
          <a:spcPct val="20000"/>
        </a:spcBef>
        <a:buClr>
          <a:schemeClr val="accent6"/>
        </a:buClr>
        <a:buSzPct val="100000"/>
        <a:buFont typeface="Wingdings 2"/>
        <a:buChar char=""/>
        <a:defRPr kumimoji="0" sz="2000" kern="1200">
          <a:solidFill>
            <a:schemeClr val="tx1"/>
          </a:solidFill>
          <a:latin typeface="+mn-lt"/>
          <a:ea typeface="+mn-ea"/>
          <a:cs typeface="+mn-cs"/>
        </a:defRPr>
      </a:lvl6pPr>
      <a:lvl7pPr marL="1828412" indent="-182840" algn="l" rtl="0" eaLnBrk="1" latinLnBrk="0" hangingPunct="1">
        <a:spcBef>
          <a:spcPct val="20000"/>
        </a:spcBef>
        <a:buClr>
          <a:schemeClr val="accent1"/>
        </a:buClr>
        <a:buSzPct val="100000"/>
        <a:buFont typeface="Wingdings 2"/>
        <a:buChar char=""/>
        <a:defRPr kumimoji="0" sz="1800" kern="1200">
          <a:solidFill>
            <a:schemeClr val="tx1"/>
          </a:solidFill>
          <a:latin typeface="+mn-lt"/>
          <a:ea typeface="+mn-ea"/>
          <a:cs typeface="+mn-cs"/>
        </a:defRPr>
      </a:lvl7pPr>
      <a:lvl8pPr marL="2029537" indent="-182840" algn="l" rtl="0" eaLnBrk="1" latinLnBrk="0" hangingPunct="1">
        <a:spcBef>
          <a:spcPct val="20000"/>
        </a:spcBef>
        <a:buClr>
          <a:schemeClr val="accent2"/>
        </a:buClr>
        <a:buFont typeface="Wingdings 2" pitchFamily="18" charset="2"/>
        <a:buChar char=""/>
        <a:defRPr kumimoji="0" sz="1800" kern="1200">
          <a:solidFill>
            <a:schemeClr val="tx1"/>
          </a:solidFill>
          <a:latin typeface="+mn-lt"/>
          <a:ea typeface="+mn-ea"/>
          <a:cs typeface="+mn-cs"/>
        </a:defRPr>
      </a:lvl8pPr>
      <a:lvl9pPr marL="2230663" indent="-182840" algn="l" rtl="0" eaLnBrk="1" latinLnBrk="0" hangingPunct="1">
        <a:spcBef>
          <a:spcPct val="20000"/>
        </a:spcBef>
        <a:buClr>
          <a:schemeClr val="accent3"/>
        </a:buClr>
        <a:buFont typeface="Wingdings 2" pitchFamily="18" charset="2"/>
        <a:buChar char=""/>
        <a:defRPr kumimoji="0" sz="1800" kern="1200" baseline="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103" algn="l" rtl="0" eaLnBrk="1" latinLnBrk="0" hangingPunct="1">
        <a:defRPr kumimoji="0" kern="1200">
          <a:solidFill>
            <a:schemeClr val="tx1"/>
          </a:solidFill>
          <a:latin typeface="+mn-lt"/>
          <a:ea typeface="+mn-ea"/>
          <a:cs typeface="+mn-cs"/>
        </a:defRPr>
      </a:lvl2pPr>
      <a:lvl3pPr marL="914206" algn="l" rtl="0" eaLnBrk="1" latinLnBrk="0" hangingPunct="1">
        <a:defRPr kumimoji="0" kern="1200">
          <a:solidFill>
            <a:schemeClr val="tx1"/>
          </a:solidFill>
          <a:latin typeface="+mn-lt"/>
          <a:ea typeface="+mn-ea"/>
          <a:cs typeface="+mn-cs"/>
        </a:defRPr>
      </a:lvl3pPr>
      <a:lvl4pPr marL="1371310" algn="l" rtl="0" eaLnBrk="1" latinLnBrk="0" hangingPunct="1">
        <a:defRPr kumimoji="0" kern="1200">
          <a:solidFill>
            <a:schemeClr val="tx1"/>
          </a:solidFill>
          <a:latin typeface="+mn-lt"/>
          <a:ea typeface="+mn-ea"/>
          <a:cs typeface="+mn-cs"/>
        </a:defRPr>
      </a:lvl4pPr>
      <a:lvl5pPr marL="1828412" algn="l" rtl="0" eaLnBrk="1" latinLnBrk="0" hangingPunct="1">
        <a:defRPr kumimoji="0" kern="1200">
          <a:solidFill>
            <a:schemeClr val="tx1"/>
          </a:solidFill>
          <a:latin typeface="+mn-lt"/>
          <a:ea typeface="+mn-ea"/>
          <a:cs typeface="+mn-cs"/>
        </a:defRPr>
      </a:lvl5pPr>
      <a:lvl6pPr marL="2285516" algn="l" rtl="0" eaLnBrk="1" latinLnBrk="0" hangingPunct="1">
        <a:defRPr kumimoji="0" kern="1200">
          <a:solidFill>
            <a:schemeClr val="tx1"/>
          </a:solidFill>
          <a:latin typeface="+mn-lt"/>
          <a:ea typeface="+mn-ea"/>
          <a:cs typeface="+mn-cs"/>
        </a:defRPr>
      </a:lvl6pPr>
      <a:lvl7pPr marL="2742618" algn="l" rtl="0" eaLnBrk="1" latinLnBrk="0" hangingPunct="1">
        <a:defRPr kumimoji="0" kern="1200">
          <a:solidFill>
            <a:schemeClr val="tx1"/>
          </a:solidFill>
          <a:latin typeface="+mn-lt"/>
          <a:ea typeface="+mn-ea"/>
          <a:cs typeface="+mn-cs"/>
        </a:defRPr>
      </a:lvl7pPr>
      <a:lvl8pPr marL="3199722" algn="l" rtl="0" eaLnBrk="1" latinLnBrk="0" hangingPunct="1">
        <a:defRPr kumimoji="0" kern="1200">
          <a:solidFill>
            <a:schemeClr val="tx1"/>
          </a:solidFill>
          <a:latin typeface="+mn-lt"/>
          <a:ea typeface="+mn-ea"/>
          <a:cs typeface="+mn-cs"/>
        </a:defRPr>
      </a:lvl8pPr>
      <a:lvl9pPr marL="3656825" algn="l" rtl="0" eaLnBrk="1" latinLnBrk="0" hangingPunct="1">
        <a:defRPr kumimoji="0" kern="1200">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717681"/>
            <a:ext cx="10972800" cy="660641"/>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609600" y="1763001"/>
            <a:ext cx="10972800" cy="430948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4">
            <a:extLst>
              <a:ext uri="{FF2B5EF4-FFF2-40B4-BE49-F238E27FC236}">
                <a16:creationId xmlns:a16="http://schemas.microsoft.com/office/drawing/2014/main" id="{A3FDD47A-E580-4B37-8AB9-E47381534D90}"/>
              </a:ext>
            </a:extLst>
          </p:cNvPr>
          <p:cNvSpPr txBox="1"/>
          <p:nvPr userDrawn="1"/>
        </p:nvSpPr>
        <p:spPr>
          <a:xfrm>
            <a:off x="11389543" y="6449585"/>
            <a:ext cx="470781" cy="184666"/>
          </a:xfrm>
          <a:prstGeom prst="rect">
            <a:avLst/>
          </a:prstGeom>
          <a:noFill/>
        </p:spPr>
        <p:txBody>
          <a:bodyPr wrap="square" rtlCol="0">
            <a:spAutoFit/>
          </a:bodyPr>
          <a:lstStyle/>
          <a:p>
            <a:pPr algn="r"/>
            <a:fld id="{F9BF52E7-0EA3-4490-92E3-8B24BB968F96}" type="slidenum">
              <a:rPr lang="en-US" sz="600" smtClean="0">
                <a:solidFill>
                  <a:schemeClr val="accent5"/>
                </a:solidFill>
                <a:latin typeface="Century Gothic" panose="020B0502020202020204" pitchFamily="34" charset="0"/>
              </a:rPr>
              <a:pPr algn="r"/>
              <a:t>‹#›</a:t>
            </a:fld>
            <a:endParaRPr lang="en-US" sz="600" dirty="0">
              <a:solidFill>
                <a:schemeClr val="accent5"/>
              </a:solidFill>
              <a:latin typeface="Century Gothic" panose="020B0502020202020204" pitchFamily="34" charset="0"/>
            </a:endParaRPr>
          </a:p>
        </p:txBody>
      </p:sp>
      <p:pic>
        <p:nvPicPr>
          <p:cNvPr id="8" name="Picture 7">
            <a:extLst>
              <a:ext uri="{FF2B5EF4-FFF2-40B4-BE49-F238E27FC236}">
                <a16:creationId xmlns:a16="http://schemas.microsoft.com/office/drawing/2014/main" id="{04302444-72B7-FE49-8FBF-FB066E62D859}"/>
              </a:ext>
            </a:extLst>
          </p:cNvPr>
          <p:cNvPicPr>
            <a:picLocks noChangeAspect="1"/>
          </p:cNvPicPr>
          <p:nvPr userDrawn="1"/>
        </p:nvPicPr>
        <p:blipFill>
          <a:blip r:embed="rId14"/>
          <a:stretch>
            <a:fillRect/>
          </a:stretch>
        </p:blipFill>
        <p:spPr>
          <a:xfrm>
            <a:off x="0" y="6318250"/>
            <a:ext cx="2103496" cy="546100"/>
          </a:xfrm>
          <a:prstGeom prst="rect">
            <a:avLst/>
          </a:prstGeom>
        </p:spPr>
      </p:pic>
    </p:spTree>
    <p:extLst>
      <p:ext uri="{BB962C8B-B14F-4D97-AF65-F5344CB8AC3E}">
        <p14:creationId xmlns:p14="http://schemas.microsoft.com/office/powerpoint/2010/main" val="101995794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hf sldNum="0" hdr="0" ftr="0" dt="0"/>
  <p:txStyles>
    <p:titleStyle>
      <a:lvl1pPr algn="l" defTabSz="457200" rtl="0" eaLnBrk="1" latinLnBrk="0" hangingPunct="1">
        <a:spcBef>
          <a:spcPct val="0"/>
        </a:spcBef>
        <a:buNone/>
        <a:defRPr sz="3200" b="1" kern="1200">
          <a:solidFill>
            <a:srgbClr val="000000"/>
          </a:solidFill>
          <a:latin typeface="Century Gothic" panose="020B0502020202020204" pitchFamily="34" charset="0"/>
          <a:ea typeface="+mj-ea"/>
          <a:cs typeface="Arial"/>
        </a:defRPr>
      </a:lvl1pPr>
    </p:titleStyle>
    <p:bodyStyle>
      <a:lvl1pPr marL="342900" indent="-342900" algn="l" defTabSz="457200" rtl="0" eaLnBrk="1" latinLnBrk="0" hangingPunct="1">
        <a:lnSpc>
          <a:spcPct val="100000"/>
        </a:lnSpc>
        <a:spcBef>
          <a:spcPts val="400"/>
        </a:spcBef>
        <a:buFont typeface="Arial"/>
        <a:buChar char="•"/>
        <a:defRPr sz="1200" kern="1200">
          <a:solidFill>
            <a:srgbClr val="000000"/>
          </a:solidFill>
          <a:latin typeface="Century Gothic" panose="020B0502020202020204" pitchFamily="34" charset="0"/>
          <a:ea typeface="+mn-ea"/>
          <a:cs typeface="Arial"/>
        </a:defRPr>
      </a:lvl1pPr>
      <a:lvl2pPr marL="742950" indent="-285750" algn="l" defTabSz="457200" rtl="0" eaLnBrk="1" latinLnBrk="0" hangingPunct="1">
        <a:lnSpc>
          <a:spcPct val="100000"/>
        </a:lnSpc>
        <a:spcBef>
          <a:spcPts val="400"/>
        </a:spcBef>
        <a:buFont typeface="Arial"/>
        <a:buChar char="–"/>
        <a:defRPr sz="1200" kern="1200">
          <a:solidFill>
            <a:srgbClr val="000000"/>
          </a:solidFill>
          <a:latin typeface="Century Gothic" panose="020B0502020202020204" pitchFamily="34" charset="0"/>
          <a:ea typeface="+mn-ea"/>
          <a:cs typeface="Arial"/>
        </a:defRPr>
      </a:lvl2pPr>
      <a:lvl3pPr marL="1143000" indent="-228600" algn="l" defTabSz="457200" rtl="0" eaLnBrk="1" latinLnBrk="0" hangingPunct="1">
        <a:lnSpc>
          <a:spcPct val="100000"/>
        </a:lnSpc>
        <a:spcBef>
          <a:spcPts val="400"/>
        </a:spcBef>
        <a:buFont typeface="Arial"/>
        <a:buChar char="•"/>
        <a:defRPr sz="1200" kern="1200">
          <a:solidFill>
            <a:srgbClr val="000000"/>
          </a:solidFill>
          <a:latin typeface="Century Gothic" panose="020B0502020202020204" pitchFamily="34" charset="0"/>
          <a:ea typeface="+mn-ea"/>
          <a:cs typeface="Arial"/>
        </a:defRPr>
      </a:lvl3pPr>
      <a:lvl4pPr marL="1600200" indent="-228600" algn="l" defTabSz="457200" rtl="0" eaLnBrk="1" latinLnBrk="0" hangingPunct="1">
        <a:lnSpc>
          <a:spcPct val="100000"/>
        </a:lnSpc>
        <a:spcBef>
          <a:spcPts val="400"/>
        </a:spcBef>
        <a:buFont typeface="Arial"/>
        <a:buChar char="–"/>
        <a:defRPr sz="1200" kern="1200">
          <a:solidFill>
            <a:srgbClr val="000000"/>
          </a:solidFill>
          <a:latin typeface="Century Gothic" panose="020B0502020202020204" pitchFamily="34" charset="0"/>
          <a:ea typeface="+mn-ea"/>
          <a:cs typeface="Arial"/>
        </a:defRPr>
      </a:lvl4pPr>
      <a:lvl5pPr marL="2057400" indent="-228600" algn="l" defTabSz="457200" rtl="0" eaLnBrk="1" latinLnBrk="0" hangingPunct="1">
        <a:lnSpc>
          <a:spcPct val="100000"/>
        </a:lnSpc>
        <a:spcBef>
          <a:spcPts val="400"/>
        </a:spcBef>
        <a:buFont typeface="Arial"/>
        <a:buChar char="•"/>
        <a:defRPr sz="1200" kern="1200">
          <a:solidFill>
            <a:srgbClr val="000000"/>
          </a:solidFill>
          <a:latin typeface="Century Gothic" panose="020B0502020202020204" pitchFamily="34" charset="0"/>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6.jpeg"/><Relationship Id="rId2" Type="http://schemas.openxmlformats.org/officeDocument/2006/relationships/hyperlink" Target="http://www.superstock.com/stock-photos-images/1598R-10031484" TargetMode="External"/><Relationship Id="rId1" Type="http://schemas.openxmlformats.org/officeDocument/2006/relationships/slideLayout" Target="../slideLayouts/slideLayout23.xml"/><Relationship Id="rId6" Type="http://schemas.openxmlformats.org/officeDocument/2006/relationships/hyperlink" Target="http://www.superstock.com/stock-photos-images/1598R-10031481" TargetMode="External"/><Relationship Id="rId5" Type="http://schemas.openxmlformats.org/officeDocument/2006/relationships/image" Target="../media/image15.jpeg"/><Relationship Id="rId4" Type="http://schemas.openxmlformats.org/officeDocument/2006/relationships/hyperlink" Target="http://www.superstock.com/stock-photos-images/1598R-10031477" TargetMode="Externa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23.xml"/><Relationship Id="rId4"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hidden="1">
            <a:extLst>
              <a:ext uri="{FF2B5EF4-FFF2-40B4-BE49-F238E27FC236}">
                <a16:creationId xmlns:a16="http://schemas.microsoft.com/office/drawing/2014/main" id="{5487B199-1FB0-4D27-AC35-57E58663E270}"/>
              </a:ext>
            </a:extLst>
          </p:cNvPr>
          <p:cNvSpPr>
            <a:spLocks noGrp="1"/>
          </p:cNvSpPr>
          <p:nvPr>
            <p:ph type="title"/>
          </p:nvPr>
        </p:nvSpPr>
        <p:spPr/>
        <p:txBody>
          <a:bodyPr/>
          <a:lstStyle/>
          <a:p>
            <a:r>
              <a:rPr lang="en-US" dirty="0">
                <a:solidFill>
                  <a:schemeClr val="tx1"/>
                </a:solidFill>
              </a:rPr>
              <a:t>Speaker: Tim Lawrence</a:t>
            </a:r>
          </a:p>
        </p:txBody>
      </p:sp>
      <p:sp>
        <p:nvSpPr>
          <p:cNvPr id="3" name="Content Placeholder 2"/>
          <p:cNvSpPr>
            <a:spLocks noGrp="1"/>
          </p:cNvSpPr>
          <p:nvPr>
            <p:ph idx="4294967295"/>
          </p:nvPr>
        </p:nvSpPr>
        <p:spPr>
          <a:xfrm>
            <a:off x="609600" y="1812290"/>
            <a:ext cx="10972800" cy="4625975"/>
          </a:xfrm>
        </p:spPr>
        <p:txBody>
          <a:bodyPr/>
          <a:lstStyle/>
          <a:p>
            <a:r>
              <a:rPr lang="en-US" b="1" dirty="0"/>
              <a:t>Tim Lawrence</a:t>
            </a:r>
            <a:endParaRPr lang="en-US" dirty="0"/>
          </a:p>
          <a:p>
            <a:pPr marL="118847" indent="0">
              <a:buNone/>
            </a:pPr>
            <a:r>
              <a:rPr lang="en-US" i="1" dirty="0"/>
              <a:t>Senior Vice President, Operations at Hill-Rom Holdings Inc.</a:t>
            </a:r>
            <a:endParaRPr lang="en-US" dirty="0"/>
          </a:p>
          <a:p>
            <a:endParaRPr lang="en-US" dirty="0"/>
          </a:p>
        </p:txBody>
      </p:sp>
      <p:pic>
        <p:nvPicPr>
          <p:cNvPr id="2" name="Picture 1" descr="Picture of Tim Lawrence"/>
          <p:cNvPicPr>
            <a:picLocks noChangeAspect="1"/>
          </p:cNvPicPr>
          <p:nvPr/>
        </p:nvPicPr>
        <p:blipFill>
          <a:blip r:embed="rId2"/>
          <a:stretch>
            <a:fillRect/>
          </a:stretch>
        </p:blipFill>
        <p:spPr>
          <a:xfrm>
            <a:off x="4929188" y="3204698"/>
            <a:ext cx="2333625" cy="2924175"/>
          </a:xfrm>
          <a:prstGeom prst="rect">
            <a:avLst/>
          </a:prstGeom>
        </p:spPr>
      </p:pic>
    </p:spTree>
    <p:extLst>
      <p:ext uri="{BB962C8B-B14F-4D97-AF65-F5344CB8AC3E}">
        <p14:creationId xmlns:p14="http://schemas.microsoft.com/office/powerpoint/2010/main" val="9490787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850946" name="Rectangle 2">
            <a:extLst>
              <a:ext uri="{FF2B5EF4-FFF2-40B4-BE49-F238E27FC236}">
                <a16:creationId xmlns:a16="http://schemas.microsoft.com/office/drawing/2014/main" id="{BA31C7B1-CFF2-4F69-9136-22C3DFFE16BC}"/>
              </a:ext>
            </a:extLst>
          </p:cNvPr>
          <p:cNvSpPr>
            <a:spLocks noGrp="1" noChangeArrowheads="1"/>
          </p:cNvSpPr>
          <p:nvPr>
            <p:ph type="ctrTitle" idx="4294967295"/>
          </p:nvPr>
        </p:nvSpPr>
        <p:spPr>
          <a:xfrm>
            <a:off x="2300289" y="50561"/>
            <a:ext cx="7591425" cy="1470025"/>
          </a:xfrm>
        </p:spPr>
        <p:txBody>
          <a:bodyPr anchor="ctr"/>
          <a:lstStyle/>
          <a:p>
            <a:pPr algn="ctr"/>
            <a:r>
              <a:rPr lang="en-US" altLang="en-US" dirty="0">
                <a:solidFill>
                  <a:srgbClr val="FFFFFF"/>
                </a:solidFill>
              </a:rPr>
              <a:t>A Key To Remember </a:t>
            </a:r>
            <a:endParaRPr lang="en-US" altLang="en-US" sz="4400" dirty="0">
              <a:solidFill>
                <a:srgbClr val="FFFFFF"/>
              </a:solidFill>
            </a:endParaRPr>
          </a:p>
        </p:txBody>
      </p:sp>
      <p:pic>
        <p:nvPicPr>
          <p:cNvPr id="4" name="Picture 3" descr="picture of a key">
            <a:extLst>
              <a:ext uri="{FF2B5EF4-FFF2-40B4-BE49-F238E27FC236}">
                <a16:creationId xmlns:a16="http://schemas.microsoft.com/office/drawing/2014/main" id="{C2863A0E-D256-4472-9BCF-AAD4443E63B8}"/>
              </a:ext>
            </a:extLst>
          </p:cNvPr>
          <p:cNvPicPr>
            <a:picLocks noChangeAspect="1"/>
          </p:cNvPicPr>
          <p:nvPr/>
        </p:nvPicPr>
        <p:blipFill>
          <a:blip r:embed="rId2"/>
          <a:stretch>
            <a:fillRect/>
          </a:stretch>
        </p:blipFill>
        <p:spPr>
          <a:xfrm>
            <a:off x="4600575" y="1460791"/>
            <a:ext cx="2990850" cy="1533525"/>
          </a:xfrm>
          <a:prstGeom prst="rect">
            <a:avLst/>
          </a:prstGeom>
          <a:solidFill>
            <a:schemeClr val="bg2"/>
          </a:solidFill>
        </p:spPr>
      </p:pic>
      <p:sp>
        <p:nvSpPr>
          <p:cNvPr id="850947" name="Rectangle 3">
            <a:extLst>
              <a:ext uri="{FF2B5EF4-FFF2-40B4-BE49-F238E27FC236}">
                <a16:creationId xmlns:a16="http://schemas.microsoft.com/office/drawing/2014/main" id="{91D6BDE5-FFB2-4FB1-B794-27506BD20B86}"/>
              </a:ext>
            </a:extLst>
          </p:cNvPr>
          <p:cNvSpPr>
            <a:spLocks noGrp="1" noChangeArrowheads="1"/>
          </p:cNvSpPr>
          <p:nvPr>
            <p:ph type="subTitle" idx="4294967295"/>
          </p:nvPr>
        </p:nvSpPr>
        <p:spPr>
          <a:xfrm>
            <a:off x="2057400" y="3578979"/>
            <a:ext cx="8077200" cy="1752600"/>
          </a:xfrm>
        </p:spPr>
        <p:txBody>
          <a:bodyPr/>
          <a:lstStyle/>
          <a:p>
            <a:r>
              <a:rPr lang="en-US" altLang="en-US" sz="2400" b="1" i="1" dirty="0">
                <a:solidFill>
                  <a:srgbClr val="FFFFFF"/>
                </a:solidFill>
              </a:rPr>
              <a:t>Improvement is not about the tools.  It is about leadership &amp; teaching people to see &amp; think</a:t>
            </a:r>
          </a:p>
          <a:p>
            <a:endParaRPr lang="en-US" altLang="en-US" sz="2400" b="1" i="1" dirty="0">
              <a:solidFill>
                <a:srgbClr val="FFFFFF"/>
              </a:solidFill>
            </a:endParaRPr>
          </a:p>
          <a:p>
            <a:r>
              <a:rPr lang="en-US" altLang="en-US" sz="2400" b="1" i="1" dirty="0">
                <a:solidFill>
                  <a:srgbClr val="FFFFFF"/>
                </a:solidFill>
              </a:rPr>
              <a:t>You must know the “right” tool to use in order to solve your most significant business problems  </a:t>
            </a:r>
          </a:p>
        </p:txBody>
      </p:sp>
    </p:spTree>
    <p:extLst>
      <p:ext uri="{BB962C8B-B14F-4D97-AF65-F5344CB8AC3E}">
        <p14:creationId xmlns:p14="http://schemas.microsoft.com/office/powerpoint/2010/main" val="33202157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4">
            <a:extLst>
              <a:ext uri="{FF2B5EF4-FFF2-40B4-BE49-F238E27FC236}">
                <a16:creationId xmlns:a16="http://schemas.microsoft.com/office/drawing/2014/main" id="{ECB93901-91E2-45E0-954E-287BCC3960BD}"/>
              </a:ext>
            </a:extLst>
          </p:cNvPr>
          <p:cNvSpPr txBox="1">
            <a:spLocks noGrp="1" noChangeArrowheads="1"/>
          </p:cNvSpPr>
          <p:nvPr>
            <p:ph type="title"/>
          </p:nvPr>
        </p:nvSpPr>
        <p:spPr bwMode="auto">
          <a:xfrm>
            <a:off x="609600" y="234991"/>
            <a:ext cx="10972800" cy="660400"/>
          </a:xfrm>
          <a:prstGeom prst="rect">
            <a:avLst/>
          </a:prstGeom>
          <a:solidFill>
            <a:srgbClr val="0070C0"/>
          </a:solidFill>
          <a:ln w="12700">
            <a:solidFill>
              <a:srgbClr val="298FC2"/>
            </a:solidFill>
          </a:ln>
          <a:effectLst/>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algn="ctr" defTabSz="914400">
              <a:defRPr sz="2800" b="1" kern="0">
                <a:solidFill>
                  <a:srgbClr val="FFFFFF"/>
                </a:solidFill>
                <a:latin typeface="Calibri"/>
              </a:defRPr>
            </a:lvl1pPr>
          </a:lstStyle>
          <a:p>
            <a:r>
              <a:rPr lang="en-US" dirty="0"/>
              <a:t>How We Measure Progress </a:t>
            </a:r>
          </a:p>
        </p:txBody>
      </p:sp>
      <p:sp>
        <p:nvSpPr>
          <p:cNvPr id="14" name="TextBox 13"/>
          <p:cNvSpPr txBox="1"/>
          <p:nvPr/>
        </p:nvSpPr>
        <p:spPr>
          <a:xfrm>
            <a:off x="1893126" y="1471979"/>
            <a:ext cx="4120039" cy="1692771"/>
          </a:xfrm>
          <a:prstGeom prst="rect">
            <a:avLst/>
          </a:prstGeom>
          <a:noFill/>
        </p:spPr>
        <p:txBody>
          <a:bodyPr wrap="none" rtlCol="0">
            <a:spAutoFit/>
          </a:bodyPr>
          <a:lstStyle/>
          <a:p>
            <a:pPr marL="463550" marR="0" lvl="0" indent="-463550" algn="l" defTabSz="457200" rtl="0" eaLnBrk="1" fontAlgn="auto" latinLnBrk="0" hangingPunct="1">
              <a:lnSpc>
                <a:spcPct val="100000"/>
              </a:lnSpc>
              <a:spcBef>
                <a:spcPts val="0"/>
              </a:spcBef>
              <a:spcAft>
                <a:spcPts val="0"/>
              </a:spcAft>
              <a:buClrTx/>
              <a:buSzTx/>
              <a:buFont typeface="Wingdings" pitchFamily="2" charset="2"/>
              <a:buChar char="Ø"/>
              <a:tabLst/>
              <a:defRPr/>
            </a:pPr>
            <a:r>
              <a:rPr kumimoji="0" lang="en-US" sz="2400" b="0" i="0" u="none" strike="noStrike" kern="1200" cap="none" spc="0" normalizeH="0" baseline="0" noProof="0" dirty="0">
                <a:ln>
                  <a:noFill/>
                </a:ln>
                <a:solidFill>
                  <a:srgbClr val="000000"/>
                </a:solidFill>
                <a:effectLst/>
                <a:uLnTx/>
                <a:uFillTx/>
                <a:latin typeface="Century Gothic" panose="020F0302020204030204"/>
                <a:ea typeface="+mn-ea"/>
                <a:cs typeface="+mn-cs"/>
              </a:rPr>
              <a:t>Three Levels of Maturity</a:t>
            </a:r>
          </a:p>
          <a:p>
            <a:pPr marL="920750" marR="0" lvl="1" indent="-463550" algn="l" defTabSz="457200" rtl="0" eaLnBrk="1" fontAlgn="auto" latinLnBrk="0" hangingPunct="1">
              <a:lnSpc>
                <a:spcPct val="100000"/>
              </a:lnSpc>
              <a:spcBef>
                <a:spcPts val="0"/>
              </a:spcBef>
              <a:spcAft>
                <a:spcPts val="0"/>
              </a:spcAft>
              <a:buClrTx/>
              <a:buSzTx/>
              <a:buFont typeface="Wingdings" pitchFamily="2" charset="2"/>
              <a:buChar char="Ø"/>
              <a:tabLst/>
              <a:defRPr/>
            </a:pPr>
            <a:r>
              <a:rPr kumimoji="0" lang="en-US" sz="2000" b="0" i="0" u="none" strike="noStrike" kern="1200" cap="none" spc="0" normalizeH="0" baseline="0" noProof="0" dirty="0">
                <a:ln>
                  <a:noFill/>
                </a:ln>
                <a:solidFill>
                  <a:srgbClr val="000000"/>
                </a:solidFill>
                <a:effectLst/>
                <a:uLnTx/>
                <a:uFillTx/>
                <a:latin typeface="Century Gothic" panose="020F0302020204030204"/>
                <a:ea typeface="+mn-ea"/>
                <a:cs typeface="+mn-cs"/>
              </a:rPr>
              <a:t>System (Yes / No)</a:t>
            </a:r>
          </a:p>
          <a:p>
            <a:pPr marL="920750" marR="0" lvl="1" indent="-463550" algn="l" defTabSz="457200" rtl="0" eaLnBrk="1" fontAlgn="auto" latinLnBrk="0" hangingPunct="1">
              <a:lnSpc>
                <a:spcPct val="100000"/>
              </a:lnSpc>
              <a:spcBef>
                <a:spcPts val="0"/>
              </a:spcBef>
              <a:spcAft>
                <a:spcPts val="0"/>
              </a:spcAft>
              <a:buClrTx/>
              <a:buSzTx/>
              <a:buFont typeface="Wingdings" pitchFamily="2" charset="2"/>
              <a:buChar char="Ø"/>
              <a:tabLst/>
              <a:defRPr/>
            </a:pPr>
            <a:r>
              <a:rPr kumimoji="0" lang="en-US" sz="2000" b="0" i="0" u="none" strike="noStrike" kern="1200" cap="none" spc="0" normalizeH="0" baseline="0" noProof="0" dirty="0">
                <a:ln>
                  <a:noFill/>
                </a:ln>
                <a:solidFill>
                  <a:srgbClr val="000000"/>
                </a:solidFill>
                <a:effectLst/>
                <a:uLnTx/>
                <a:uFillTx/>
                <a:latin typeface="Century Gothic" panose="020F0302020204030204"/>
                <a:ea typeface="+mn-ea"/>
                <a:cs typeface="+mn-cs"/>
              </a:rPr>
              <a:t>Bronze</a:t>
            </a:r>
          </a:p>
          <a:p>
            <a:pPr marL="920750" marR="0" lvl="1" indent="-463550" algn="l" defTabSz="457200" rtl="0" eaLnBrk="1" fontAlgn="auto" latinLnBrk="0" hangingPunct="1">
              <a:lnSpc>
                <a:spcPct val="100000"/>
              </a:lnSpc>
              <a:spcBef>
                <a:spcPts val="0"/>
              </a:spcBef>
              <a:spcAft>
                <a:spcPts val="0"/>
              </a:spcAft>
              <a:buClrTx/>
              <a:buSzTx/>
              <a:buFont typeface="Wingdings" pitchFamily="2" charset="2"/>
              <a:buChar char="Ø"/>
              <a:tabLst/>
              <a:defRPr/>
            </a:pPr>
            <a:r>
              <a:rPr kumimoji="0" lang="en-US" sz="2000" b="0" i="0" u="none" strike="noStrike" kern="1200" cap="none" spc="0" normalizeH="0" baseline="0" noProof="0" dirty="0">
                <a:ln>
                  <a:noFill/>
                </a:ln>
                <a:solidFill>
                  <a:srgbClr val="000000"/>
                </a:solidFill>
                <a:effectLst/>
                <a:uLnTx/>
                <a:uFillTx/>
                <a:latin typeface="Century Gothic" panose="020F0302020204030204"/>
                <a:ea typeface="+mn-ea"/>
                <a:cs typeface="+mn-cs"/>
              </a:rPr>
              <a:t>Silver</a:t>
            </a:r>
          </a:p>
          <a:p>
            <a:pPr marL="920750" marR="0" lvl="1" indent="-463550" algn="l" defTabSz="457200" rtl="0" eaLnBrk="1" fontAlgn="auto" latinLnBrk="0" hangingPunct="1">
              <a:lnSpc>
                <a:spcPct val="100000"/>
              </a:lnSpc>
              <a:spcBef>
                <a:spcPts val="0"/>
              </a:spcBef>
              <a:spcAft>
                <a:spcPts val="0"/>
              </a:spcAft>
              <a:buClrTx/>
              <a:buSzTx/>
              <a:buFont typeface="Wingdings" pitchFamily="2" charset="2"/>
              <a:buChar char="Ø"/>
              <a:tabLst/>
              <a:defRPr/>
            </a:pPr>
            <a:r>
              <a:rPr kumimoji="0" lang="en-US" sz="2000" b="0" i="0" u="none" strike="noStrike" kern="1200" cap="none" spc="0" normalizeH="0" baseline="0" noProof="0" dirty="0">
                <a:ln>
                  <a:noFill/>
                </a:ln>
                <a:solidFill>
                  <a:srgbClr val="000000"/>
                </a:solidFill>
                <a:effectLst/>
                <a:uLnTx/>
                <a:uFillTx/>
                <a:latin typeface="Century Gothic" panose="020F0302020204030204"/>
                <a:ea typeface="+mn-ea"/>
                <a:cs typeface="+mn-cs"/>
              </a:rPr>
              <a:t>Gold</a:t>
            </a:r>
          </a:p>
        </p:txBody>
      </p:sp>
      <p:grpSp>
        <p:nvGrpSpPr>
          <p:cNvPr id="3" name="Group 2" descr="pictures of the progression from a bronze 3rd place metal to a silver 2nd place metal, to a gold 1st place metal. ">
            <a:extLst>
              <a:ext uri="{FF2B5EF4-FFF2-40B4-BE49-F238E27FC236}">
                <a16:creationId xmlns:a16="http://schemas.microsoft.com/office/drawing/2014/main" id="{93710BDD-6D05-4112-A261-4EC59BFA26B6}"/>
              </a:ext>
            </a:extLst>
          </p:cNvPr>
          <p:cNvGrpSpPr/>
          <p:nvPr/>
        </p:nvGrpSpPr>
        <p:grpSpPr>
          <a:xfrm>
            <a:off x="2971801" y="1104969"/>
            <a:ext cx="6711537" cy="4052241"/>
            <a:chOff x="1447800" y="1717529"/>
            <a:chExt cx="6711537" cy="4052241"/>
          </a:xfrm>
        </p:grpSpPr>
        <p:grpSp>
          <p:nvGrpSpPr>
            <p:cNvPr id="2" name="Group 22"/>
            <p:cNvGrpSpPr/>
            <p:nvPr/>
          </p:nvGrpSpPr>
          <p:grpSpPr>
            <a:xfrm>
              <a:off x="1447800" y="5105400"/>
              <a:ext cx="1676400" cy="664370"/>
              <a:chOff x="457200" y="5334000"/>
              <a:chExt cx="2895600" cy="914405"/>
            </a:xfrm>
          </p:grpSpPr>
          <p:sp>
            <p:nvSpPr>
              <p:cNvPr id="17" name="Rectangle 16"/>
              <p:cNvSpPr/>
              <p:nvPr/>
            </p:nvSpPr>
            <p:spPr bwMode="auto">
              <a:xfrm>
                <a:off x="457200" y="5334000"/>
                <a:ext cx="2895600" cy="457200"/>
              </a:xfrm>
              <a:prstGeom prst="rect">
                <a:avLst/>
              </a:prstGeom>
              <a:solidFill>
                <a:srgbClr val="002060"/>
              </a:solidFill>
              <a:ln w="9525" cap="flat" cmpd="sng" algn="ctr">
                <a:solidFill>
                  <a:srgbClr val="0B2D84"/>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sz="1800" b="0" i="0" u="none" strike="noStrike" kern="1200" cap="none" spc="0" normalizeH="0" baseline="0" noProof="0" dirty="0">
                    <a:ln>
                      <a:noFill/>
                    </a:ln>
                    <a:solidFill>
                      <a:srgbClr val="B7C9D3"/>
                    </a:solidFill>
                    <a:effectLst/>
                    <a:uLnTx/>
                    <a:uFillTx/>
                    <a:latin typeface="Century Gothic" panose="020F0302020204030204"/>
                    <a:ea typeface="+mn-ea"/>
                    <a:cs typeface="+mn-cs"/>
                  </a:rPr>
                  <a:t>System</a:t>
                </a:r>
              </a:p>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18" name="Rectangle 17"/>
              <p:cNvSpPr/>
              <p:nvPr/>
            </p:nvSpPr>
            <p:spPr bwMode="auto">
              <a:xfrm>
                <a:off x="457200" y="5791200"/>
                <a:ext cx="1447800" cy="457205"/>
              </a:xfrm>
              <a:prstGeom prst="rect">
                <a:avLst/>
              </a:prstGeom>
              <a:solidFill>
                <a:schemeClr val="accent2">
                  <a:lumMod val="40000"/>
                  <a:lumOff val="60000"/>
                </a:schemeClr>
              </a:solidFill>
              <a:ln w="9525" cap="flat" cmpd="sng" algn="ctr">
                <a:solidFill>
                  <a:srgbClr val="0B2D84"/>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entury Gothic" panose="020F0302020204030204"/>
                    <a:ea typeface="+mn-ea"/>
                    <a:cs typeface="+mn-cs"/>
                  </a:rPr>
                  <a:t>Yes</a:t>
                </a:r>
                <a:endParaRPr kumimoji="0" lang="en-US" sz="1800" b="0"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19" name="Rectangle 18"/>
              <p:cNvSpPr/>
              <p:nvPr/>
            </p:nvSpPr>
            <p:spPr bwMode="auto">
              <a:xfrm>
                <a:off x="1905000" y="5791204"/>
                <a:ext cx="1447800" cy="457201"/>
              </a:xfrm>
              <a:prstGeom prst="rect">
                <a:avLst/>
              </a:prstGeom>
              <a:solidFill>
                <a:schemeClr val="accent2">
                  <a:lumMod val="40000"/>
                  <a:lumOff val="60000"/>
                </a:schemeClr>
              </a:solidFill>
              <a:ln w="9525" cap="flat" cmpd="sng" algn="ctr">
                <a:solidFill>
                  <a:srgbClr val="0B2D84"/>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entury Gothic" panose="020F0302020204030204"/>
                    <a:ea typeface="+mn-ea"/>
                    <a:cs typeface="+mn-cs"/>
                  </a:rPr>
                  <a:t>No</a:t>
                </a:r>
                <a:endParaRPr kumimoji="0" lang="en-US" sz="1800" b="0" i="0" u="none" strike="noStrike" kern="1200" cap="none" spc="0" normalizeH="0" baseline="0" noProof="0" dirty="0">
                  <a:ln>
                    <a:noFill/>
                  </a:ln>
                  <a:solidFill>
                    <a:srgbClr val="FFFFFF"/>
                  </a:solidFill>
                  <a:effectLst/>
                  <a:uLnTx/>
                  <a:uFillTx/>
                  <a:latin typeface="Arial" charset="0"/>
                  <a:ea typeface="+mn-ea"/>
                  <a:cs typeface="+mn-cs"/>
                </a:endParaRPr>
              </a:p>
            </p:txBody>
          </p:sp>
        </p:grpSp>
        <p:sp>
          <p:nvSpPr>
            <p:cNvPr id="20" name="Right Arrow 19"/>
            <p:cNvSpPr/>
            <p:nvPr/>
          </p:nvSpPr>
          <p:spPr bwMode="auto">
            <a:xfrm rot="19548307">
              <a:off x="6650782" y="2668588"/>
              <a:ext cx="415829" cy="203994"/>
            </a:xfrm>
            <a:prstGeom prst="rightArrow">
              <a:avLst/>
            </a:prstGeom>
            <a:solidFill>
              <a:srgbClr val="003366"/>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4" name="Right Arrow 23"/>
            <p:cNvSpPr/>
            <p:nvPr/>
          </p:nvSpPr>
          <p:spPr bwMode="auto">
            <a:xfrm rot="19548307">
              <a:off x="5050582" y="3833018"/>
              <a:ext cx="415829" cy="203994"/>
            </a:xfrm>
            <a:prstGeom prst="rightArrow">
              <a:avLst/>
            </a:prstGeom>
            <a:solidFill>
              <a:srgbClr val="003366"/>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 name="Right Arrow 24"/>
            <p:cNvSpPr/>
            <p:nvPr/>
          </p:nvSpPr>
          <p:spPr bwMode="auto">
            <a:xfrm rot="19548307">
              <a:off x="3525189" y="4899818"/>
              <a:ext cx="415829" cy="203994"/>
            </a:xfrm>
            <a:prstGeom prst="rightArrow">
              <a:avLst/>
            </a:prstGeom>
            <a:solidFill>
              <a:srgbClr val="003366"/>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mn-cs"/>
              </a:endParaRPr>
            </a:p>
          </p:txBody>
        </p:sp>
        <p:pic>
          <p:nvPicPr>
            <p:cNvPr id="16" name="Picture 2" descr="http://wwwdelivery.superstock.com/Image/1598/Thumb/1598R-10031484.jpg">
              <a:hlinkClick r:id="rId2"/>
            </p:cNvPr>
            <p:cNvPicPr>
              <a:picLocks noChangeAspect="1" noChangeArrowheads="1"/>
            </p:cNvPicPr>
            <p:nvPr/>
          </p:nvPicPr>
          <p:blipFill>
            <a:blip r:embed="rId3"/>
            <a:srcRect/>
            <a:stretch>
              <a:fillRect/>
            </a:stretch>
          </p:blipFill>
          <p:spPr bwMode="auto">
            <a:xfrm>
              <a:off x="3959803" y="3522579"/>
              <a:ext cx="1076325" cy="1619251"/>
            </a:xfrm>
            <a:prstGeom prst="rect">
              <a:avLst/>
            </a:prstGeom>
            <a:noFill/>
          </p:spPr>
        </p:pic>
        <p:pic>
          <p:nvPicPr>
            <p:cNvPr id="26" name="Picture 4" descr="http://wwwdelivery.superstock.com/Image/1598/Thumb/1598R-10031477.jpg">
              <a:hlinkClick r:id="rId4"/>
            </p:cNvPr>
            <p:cNvPicPr>
              <a:picLocks noChangeAspect="1" noChangeArrowheads="1"/>
            </p:cNvPicPr>
            <p:nvPr/>
          </p:nvPicPr>
          <p:blipFill>
            <a:blip r:embed="rId5"/>
            <a:srcRect/>
            <a:stretch>
              <a:fillRect/>
            </a:stretch>
          </p:blipFill>
          <p:spPr bwMode="auto">
            <a:xfrm>
              <a:off x="7083012" y="1717529"/>
              <a:ext cx="1076325" cy="1619251"/>
            </a:xfrm>
            <a:prstGeom prst="rect">
              <a:avLst/>
            </a:prstGeom>
            <a:noFill/>
          </p:spPr>
        </p:pic>
        <p:pic>
          <p:nvPicPr>
            <p:cNvPr id="27" name="Picture 6" descr="http://wwwdelivery.superstock.com/Image/1598/Thumb/1598R-10031481.jpg">
              <a:hlinkClick r:id="rId6"/>
            </p:cNvPr>
            <p:cNvPicPr>
              <a:picLocks noChangeAspect="1" noChangeArrowheads="1"/>
            </p:cNvPicPr>
            <p:nvPr/>
          </p:nvPicPr>
          <p:blipFill>
            <a:blip r:embed="rId7"/>
            <a:srcRect/>
            <a:stretch>
              <a:fillRect/>
            </a:stretch>
          </p:blipFill>
          <p:spPr bwMode="auto">
            <a:xfrm>
              <a:off x="5515469" y="2620055"/>
              <a:ext cx="1076325" cy="1619251"/>
            </a:xfrm>
            <a:prstGeom prst="rect">
              <a:avLst/>
            </a:prstGeom>
            <a:noFill/>
          </p:spPr>
        </p:pic>
      </p:grpSp>
      <p:sp>
        <p:nvSpPr>
          <p:cNvPr id="15" name="Rectangle 14"/>
          <p:cNvSpPr/>
          <p:nvPr/>
        </p:nvSpPr>
        <p:spPr bwMode="auto">
          <a:xfrm>
            <a:off x="2133600" y="5590689"/>
            <a:ext cx="7924800" cy="499748"/>
          </a:xfrm>
          <a:prstGeom prst="rect">
            <a:avLst/>
          </a:prstGeom>
          <a:solidFill>
            <a:srgbClr val="0070C0"/>
          </a:solidFill>
          <a:ln w="12700">
            <a:solidFill>
              <a:srgbClr val="298FC2"/>
            </a:solidFill>
          </a:ln>
          <a:effectLst/>
        </p:spPr>
        <p:txBody>
          <a:bodyPr rot="0" spcFirstLastPara="0"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FFFFFF"/>
                </a:solidFill>
                <a:effectLst/>
                <a:uLnTx/>
                <a:uFillTx/>
                <a:latin typeface="Calibri"/>
                <a:ea typeface="+mn-ea"/>
                <a:cs typeface="+mn-cs"/>
              </a:rPr>
              <a:t>Logical Progression from Level to Level</a:t>
            </a:r>
          </a:p>
        </p:txBody>
      </p:sp>
    </p:spTree>
    <p:extLst>
      <p:ext uri="{BB962C8B-B14F-4D97-AF65-F5344CB8AC3E}">
        <p14:creationId xmlns:p14="http://schemas.microsoft.com/office/powerpoint/2010/main" val="32703880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3">
            <a:extLst>
              <a:ext uri="{FF2B5EF4-FFF2-40B4-BE49-F238E27FC236}">
                <a16:creationId xmlns:a16="http://schemas.microsoft.com/office/drawing/2014/main" id="{7064BB57-2B7B-4594-BD5D-CEF2AC73F01B}"/>
              </a:ext>
            </a:extLst>
          </p:cNvPr>
          <p:cNvSpPr txBox="1">
            <a:spLocks noGrp="1" noChangeArrowheads="1"/>
          </p:cNvSpPr>
          <p:nvPr>
            <p:ph type="title"/>
          </p:nvPr>
        </p:nvSpPr>
        <p:spPr bwMode="auto">
          <a:xfrm>
            <a:off x="587022" y="253986"/>
            <a:ext cx="10972800" cy="660400"/>
          </a:xfrm>
          <a:prstGeom prst="rect">
            <a:avLst/>
          </a:prstGeom>
          <a:solidFill>
            <a:srgbClr val="0070C0"/>
          </a:solidFill>
          <a:ln w="9525">
            <a:noFill/>
            <a:miter lim="800000"/>
            <a:headEnd/>
            <a:tailEnd/>
          </a:ln>
        </p:spPr>
        <p:txBody>
          <a:bodyPr wrap="square">
            <a:spAutoFit/>
          </a:bodyPr>
          <a:lstStyle/>
          <a:p>
            <a:pPr algn="ctr"/>
            <a:r>
              <a:rPr lang="en-US" sz="2400" b="1" dirty="0">
                <a:solidFill>
                  <a:srgbClr val="FFFFFF"/>
                </a:solidFill>
                <a:latin typeface="Arial" panose="020B0604020202020204" pitchFamily="34" charset="0"/>
                <a:cs typeface="Arial" panose="020B0604020202020204" pitchFamily="34" charset="0"/>
              </a:rPr>
              <a:t>Follow a methodical &amp; disciplined deployment approach </a:t>
            </a:r>
          </a:p>
        </p:txBody>
      </p:sp>
      <p:graphicFrame>
        <p:nvGraphicFramePr>
          <p:cNvPr id="5" name="Diagram 4" descr="Plants conduct baseline self-assessments. Then &quot;Improvement Visits&quot; to Calibrate &amp; Validate Self- Assessments. Then Plants receive formal feedback. Then Plants execute improvement plans, benchmark best practices &amp; improve management system. Then it starts all over again."/>
          <p:cNvGraphicFramePr/>
          <p:nvPr/>
        </p:nvGraphicFramePr>
        <p:xfrm>
          <a:off x="2552700" y="983202"/>
          <a:ext cx="7277100" cy="4521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p:cNvSpPr/>
          <p:nvPr/>
        </p:nvSpPr>
        <p:spPr bwMode="auto">
          <a:xfrm>
            <a:off x="2301522" y="5757337"/>
            <a:ext cx="7543800" cy="461665"/>
          </a:xfrm>
          <a:prstGeom prst="rect">
            <a:avLst/>
          </a:prstGeom>
          <a:solidFill>
            <a:srgbClr val="0070C0"/>
          </a:solidFill>
          <a:ln w="9525">
            <a:noFill/>
            <a:miter lim="800000"/>
            <a:headEnd/>
            <a:tailEnd/>
          </a:ln>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n ongoing, continuous cycle of improvement</a:t>
            </a:r>
          </a:p>
        </p:txBody>
      </p:sp>
      <p:sp>
        <p:nvSpPr>
          <p:cNvPr id="10" name="TextBox 9"/>
          <p:cNvSpPr txBox="1"/>
          <p:nvPr/>
        </p:nvSpPr>
        <p:spPr>
          <a:xfrm>
            <a:off x="5077324" y="6618018"/>
            <a:ext cx="3171826" cy="2308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B7C9D3"/>
                </a:solidFill>
                <a:effectLst/>
                <a:uLnTx/>
                <a:uFillTx/>
                <a:latin typeface="Century Gothic" panose="020F0302020204030204"/>
                <a:ea typeface="+mn-ea"/>
                <a:cs typeface="+mn-cs"/>
              </a:rPr>
              <a:t>Baxter Proprietary Information – For Internal Use Only</a:t>
            </a:r>
          </a:p>
        </p:txBody>
      </p:sp>
    </p:spTree>
    <p:extLst>
      <p:ext uri="{BB962C8B-B14F-4D97-AF65-F5344CB8AC3E}">
        <p14:creationId xmlns:p14="http://schemas.microsoft.com/office/powerpoint/2010/main" val="2908568306"/>
      </p:ext>
    </p:extLst>
  </p:cSld>
  <p:clrMapOvr>
    <a:masterClrMapping/>
  </p:clrMapOvr>
  <p:transition advClick="0"/>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6BB21B6-BC73-4911-BCB3-C048738D0B31}"/>
              </a:ext>
            </a:extLst>
          </p:cNvPr>
          <p:cNvSpPr txBox="1">
            <a:spLocks noGrp="1"/>
          </p:cNvSpPr>
          <p:nvPr>
            <p:ph type="title"/>
          </p:nvPr>
        </p:nvSpPr>
        <p:spPr>
          <a:xfrm>
            <a:off x="609600" y="175582"/>
            <a:ext cx="10972800" cy="660400"/>
          </a:xfrm>
          <a:prstGeom prst="rect">
            <a:avLst/>
          </a:prstGeom>
          <a:solidFill>
            <a:srgbClr val="0070C0"/>
          </a:solidFill>
        </p:spPr>
        <p:txBody>
          <a:bodyPr wrap="square">
            <a:spAutoFit/>
          </a:bodyPr>
          <a:lstStyle/>
          <a:p>
            <a:pPr algn="ctr">
              <a:defRPr/>
            </a:pPr>
            <a:r>
              <a:rPr lang="en-US" sz="2800" b="1" dirty="0">
                <a:solidFill>
                  <a:srgbClr val="FFFFFF"/>
                </a:solidFill>
                <a:latin typeface="Century Gothic" panose="020F0302020204030204"/>
              </a:rPr>
              <a:t>Disciplined Operating Mechanisms</a:t>
            </a:r>
          </a:p>
        </p:txBody>
      </p:sp>
      <p:sp>
        <p:nvSpPr>
          <p:cNvPr id="8195" name="TextBox 3"/>
          <p:cNvSpPr txBox="1">
            <a:spLocks noChangeArrowheads="1"/>
          </p:cNvSpPr>
          <p:nvPr/>
        </p:nvSpPr>
        <p:spPr bwMode="auto">
          <a:xfrm>
            <a:off x="1958622" y="979414"/>
            <a:ext cx="8427156" cy="5062924"/>
          </a:xfrm>
          <a:prstGeom prst="rect">
            <a:avLst/>
          </a:prstGeom>
          <a:noFill/>
          <a:ln w="9525">
            <a:noFill/>
            <a:miter lim="800000"/>
            <a:headEnd/>
            <a:tailEnd/>
          </a:ln>
        </p:spPr>
        <p:txBody>
          <a:bodyPr wrap="square">
            <a:spAutoFit/>
          </a:bodyPr>
          <a:lstStyle/>
          <a:p>
            <a:pPr marL="0" marR="0" lvl="0" indent="-349250" algn="l" defTabSz="457200" rtl="0" eaLnBrk="1" fontAlgn="t" latinLnBrk="0" hangingPunct="1">
              <a:lnSpc>
                <a:spcPct val="150000"/>
              </a:lnSpc>
              <a:spcBef>
                <a:spcPts val="1200"/>
              </a:spcBef>
              <a:spcAft>
                <a:spcPts val="0"/>
              </a:spcAft>
              <a:buClrTx/>
              <a:buSzTx/>
              <a:buFont typeface="Wingdings" panose="05000000000000000000" pitchFamily="2" charset="2"/>
              <a:buChar char="Ø"/>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Execute the Daily Management System at the plant level</a:t>
            </a:r>
          </a:p>
          <a:p>
            <a:pPr marL="0" marR="0" lvl="0" indent="-349250" algn="l" defTabSz="457200" rtl="0" eaLnBrk="1" fontAlgn="t" latinLnBrk="0" hangingPunct="1">
              <a:lnSpc>
                <a:spcPct val="150000"/>
              </a:lnSpc>
              <a:spcBef>
                <a:spcPts val="1200"/>
              </a:spcBef>
              <a:spcAft>
                <a:spcPts val="0"/>
              </a:spcAft>
              <a:buClrTx/>
              <a:buSzTx/>
              <a:buFont typeface="Wingdings" panose="05000000000000000000" pitchFamily="2" charset="2"/>
              <a:buChar char="Ø"/>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Quarterly self assessments at the plant level </a:t>
            </a:r>
          </a:p>
          <a:p>
            <a:pPr marL="0" marR="0" lvl="0" indent="-349250" algn="l" defTabSz="457200" rtl="0" eaLnBrk="1" fontAlgn="t" latinLnBrk="0" hangingPunct="1">
              <a:lnSpc>
                <a:spcPct val="150000"/>
              </a:lnSpc>
              <a:spcBef>
                <a:spcPts val="1200"/>
              </a:spcBef>
              <a:spcAft>
                <a:spcPts val="0"/>
              </a:spcAft>
              <a:buClrTx/>
              <a:buSzTx/>
              <a:buFont typeface="Wingdings" panose="05000000000000000000" pitchFamily="2" charset="2"/>
              <a:buChar char="Ø"/>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nnual On-Site Improvement Visits</a:t>
            </a:r>
          </a:p>
          <a:p>
            <a:pPr marL="914400" marR="0" lvl="2" indent="-349250" algn="l" defTabSz="457200" rtl="0" eaLnBrk="1" fontAlgn="t" latinLnBrk="0" hangingPunct="1">
              <a:lnSpc>
                <a:spcPct val="150000"/>
              </a:lnSpc>
              <a:spcBef>
                <a:spcPts val="1200"/>
              </a:spcBef>
              <a:spcAft>
                <a:spcPts val="0"/>
              </a:spcAft>
              <a:buClrTx/>
              <a:buSzTx/>
              <a:buFont typeface="Wingdings" panose="05000000000000000000" pitchFamily="2" charset="2"/>
              <a:buChar char="Ø"/>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Smaller visit teams to validate, teach, learn, calibrate and improve</a:t>
            </a:r>
          </a:p>
          <a:p>
            <a:pPr marL="914400" marR="0" lvl="2" indent="-349250" algn="l" defTabSz="457200" rtl="0" eaLnBrk="1" fontAlgn="t" latinLnBrk="0" hangingPunct="1">
              <a:lnSpc>
                <a:spcPct val="150000"/>
              </a:lnSpc>
              <a:spcBef>
                <a:spcPts val="1200"/>
              </a:spcBef>
              <a:spcAft>
                <a:spcPts val="0"/>
              </a:spcAft>
              <a:buClrTx/>
              <a:buSzTx/>
              <a:buFont typeface="Wingdings" panose="05000000000000000000" pitchFamily="2" charset="2"/>
              <a:buChar char="Ø"/>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I lead, alternating PM’s and QD’s from other plants</a:t>
            </a:r>
          </a:p>
          <a:p>
            <a:pPr marL="0" marR="0" lvl="0" indent="-349250" algn="l" defTabSz="457200" rtl="0" eaLnBrk="1" fontAlgn="t" latinLnBrk="0" hangingPunct="1">
              <a:lnSpc>
                <a:spcPct val="150000"/>
              </a:lnSpc>
              <a:spcBef>
                <a:spcPts val="1200"/>
              </a:spcBef>
              <a:spcAft>
                <a:spcPts val="0"/>
              </a:spcAft>
              <a:buClrTx/>
              <a:buSzTx/>
              <a:buFont typeface="Wingdings" panose="05000000000000000000" pitchFamily="2" charset="2"/>
              <a:buChar char="Ø"/>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Senior Management Overview </a:t>
            </a:r>
          </a:p>
          <a:p>
            <a:pPr marL="914400" marR="0" lvl="2" indent="-349250" algn="l" defTabSz="457200" rtl="0" eaLnBrk="1" fontAlgn="t" latinLnBrk="0" hangingPunct="1">
              <a:lnSpc>
                <a:spcPct val="150000"/>
              </a:lnSpc>
              <a:spcBef>
                <a:spcPts val="1200"/>
              </a:spcBef>
              <a:spcAft>
                <a:spcPts val="0"/>
              </a:spcAft>
              <a:buClrTx/>
              <a:buSzTx/>
              <a:buFont typeface="Wingdings" panose="05000000000000000000" pitchFamily="2" charset="2"/>
              <a:buChar char="Ø"/>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Standard Work during all plant visits </a:t>
            </a:r>
          </a:p>
          <a:p>
            <a:pPr marL="914400" marR="0" lvl="2" indent="-349250" algn="l" defTabSz="457200" rtl="0" eaLnBrk="1" fontAlgn="t" latinLnBrk="0" hangingPunct="1">
              <a:lnSpc>
                <a:spcPct val="150000"/>
              </a:lnSpc>
              <a:spcBef>
                <a:spcPts val="1200"/>
              </a:spcBef>
              <a:spcAft>
                <a:spcPts val="0"/>
              </a:spcAft>
              <a:buClrTx/>
              <a:buSzTx/>
              <a:buFont typeface="Wingdings" panose="05000000000000000000" pitchFamily="2" charset="2"/>
              <a:buChar char="Ø"/>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Quarterly formal reviews w/ VP </a:t>
            </a:r>
          </a:p>
          <a:p>
            <a:pPr marL="914400" marR="0" lvl="2" indent="-349250" algn="l" defTabSz="457200" rtl="0" eaLnBrk="1" fontAlgn="t" latinLnBrk="0" hangingPunct="1">
              <a:lnSpc>
                <a:spcPct val="150000"/>
              </a:lnSpc>
              <a:spcBef>
                <a:spcPts val="1200"/>
              </a:spcBef>
              <a:spcAft>
                <a:spcPts val="0"/>
              </a:spcAft>
              <a:buClrTx/>
              <a:buSzTx/>
              <a:buFont typeface="Wingdings" panose="05000000000000000000" pitchFamily="2" charset="2"/>
              <a:buChar char="Ø"/>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Review current state, next target condition &amp; key actions forward</a:t>
            </a:r>
          </a:p>
        </p:txBody>
      </p:sp>
    </p:spTree>
    <p:extLst>
      <p:ext uri="{BB962C8B-B14F-4D97-AF65-F5344CB8AC3E}">
        <p14:creationId xmlns:p14="http://schemas.microsoft.com/office/powerpoint/2010/main" val="818421675"/>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07561ED-30E6-433C-8236-1FCAE469CD41}"/>
              </a:ext>
            </a:extLst>
          </p:cNvPr>
          <p:cNvSpPr txBox="1">
            <a:spLocks noGrp="1"/>
          </p:cNvSpPr>
          <p:nvPr>
            <p:ph type="title"/>
          </p:nvPr>
        </p:nvSpPr>
        <p:spPr>
          <a:xfrm>
            <a:off x="609600" y="234067"/>
            <a:ext cx="10972800" cy="660400"/>
          </a:xfrm>
          <a:prstGeom prst="rect">
            <a:avLst/>
          </a:prstGeom>
          <a:solidFill>
            <a:srgbClr val="0070C0"/>
          </a:solidFill>
        </p:spPr>
        <p:txBody>
          <a:bodyPr wrap="square">
            <a:spAutoFit/>
          </a:bodyPr>
          <a:lstStyle/>
          <a:p>
            <a:pPr algn="ctr">
              <a:defRPr/>
            </a:pPr>
            <a:r>
              <a:rPr lang="en-US" sz="2400" b="1" dirty="0">
                <a:solidFill>
                  <a:srgbClr val="FFFFFF"/>
                </a:solidFill>
                <a:latin typeface="Arial" charset="0"/>
              </a:rPr>
              <a:t>The Operations Management System</a:t>
            </a:r>
          </a:p>
          <a:p>
            <a:pPr algn="ctr">
              <a:defRPr/>
            </a:pPr>
            <a:r>
              <a:rPr lang="en-US" sz="2400" b="1" dirty="0">
                <a:solidFill>
                  <a:srgbClr val="FFFFFF"/>
                </a:solidFill>
                <a:latin typeface="Arial" charset="0"/>
              </a:rPr>
              <a:t>Take-Away Foundations </a:t>
            </a:r>
            <a:endParaRPr lang="en-US" sz="2400" b="1" dirty="0">
              <a:solidFill>
                <a:srgbClr val="FFFFFF"/>
              </a:solidFill>
              <a:latin typeface="Century Gothic" panose="020F0302020204030204"/>
            </a:endParaRPr>
          </a:p>
        </p:txBody>
      </p:sp>
      <p:sp>
        <p:nvSpPr>
          <p:cNvPr id="7172" name="TextBox 3"/>
          <p:cNvSpPr txBox="1">
            <a:spLocks noChangeArrowheads="1"/>
          </p:cNvSpPr>
          <p:nvPr/>
        </p:nvSpPr>
        <p:spPr bwMode="auto">
          <a:xfrm>
            <a:off x="1943600" y="1316107"/>
            <a:ext cx="8272844" cy="4647426"/>
          </a:xfrm>
          <a:prstGeom prst="rect">
            <a:avLst/>
          </a:prstGeom>
          <a:noFill/>
          <a:ln w="9525">
            <a:noFill/>
            <a:miter lim="800000"/>
            <a:headEnd/>
            <a:tailEnd/>
          </a:ln>
        </p:spPr>
        <p:txBody>
          <a:bodyPr wrap="square">
            <a:spAutoFit/>
          </a:bodyPr>
          <a:lstStyle/>
          <a:p>
            <a:pPr marL="349250" marR="0" lvl="0" indent="-349250" algn="l" defTabSz="457200" rtl="0" eaLnBrk="1" fontAlgn="t" latinLnBrk="0" hangingPunct="1">
              <a:lnSpc>
                <a:spcPct val="150000"/>
              </a:lnSpc>
              <a:spcBef>
                <a:spcPts val="1200"/>
              </a:spcBef>
              <a:spcAft>
                <a:spcPts val="0"/>
              </a:spcAft>
              <a:buClrTx/>
              <a:buSzTx/>
              <a:buFont typeface="Wingdings" panose="05000000000000000000" pitchFamily="2" charset="2"/>
              <a:buChar char="Ø"/>
              <a:tabLst/>
              <a:defRPr/>
            </a:pPr>
            <a:r>
              <a:rPr kumimoji="0" lang="en-US" sz="1600" b="1" i="0" u="none" strike="noStrike" kern="1200" cap="none" spc="0" normalizeH="0" baseline="0" noProof="0" dirty="0">
                <a:ln>
                  <a:noFill/>
                </a:ln>
                <a:solidFill>
                  <a:srgbClr val="000000"/>
                </a:solidFill>
                <a:effectLst/>
                <a:uLnTx/>
                <a:uFillTx/>
                <a:latin typeface="Century Gothic" panose="020F0302020204030204"/>
                <a:ea typeface="+mn-ea"/>
                <a:cs typeface="+mn-cs"/>
              </a:rPr>
              <a:t>Extreme Ownership</a:t>
            </a:r>
          </a:p>
          <a:p>
            <a:pPr marL="349250" marR="0" lvl="0" indent="-349250" algn="l" defTabSz="457200" rtl="0" eaLnBrk="1" fontAlgn="t" latinLnBrk="0" hangingPunct="1">
              <a:lnSpc>
                <a:spcPct val="150000"/>
              </a:lnSpc>
              <a:spcBef>
                <a:spcPts val="1200"/>
              </a:spcBef>
              <a:spcAft>
                <a:spcPts val="0"/>
              </a:spcAft>
              <a:buClrTx/>
              <a:buSzTx/>
              <a:buFont typeface="Wingdings" panose="05000000000000000000" pitchFamily="2" charset="2"/>
              <a:buChar char="Ø"/>
              <a:tabLst/>
              <a:defRPr/>
            </a:pPr>
            <a:r>
              <a:rPr kumimoji="0" lang="en-US" sz="1600" b="1" i="0" u="none" strike="noStrike" kern="1200" cap="none" spc="0" normalizeH="0" baseline="0" noProof="0" dirty="0">
                <a:ln>
                  <a:noFill/>
                </a:ln>
                <a:solidFill>
                  <a:srgbClr val="000000"/>
                </a:solidFill>
                <a:effectLst/>
                <a:uLnTx/>
                <a:uFillTx/>
                <a:latin typeface="Century Gothic" panose="020F0302020204030204"/>
                <a:ea typeface="+mn-ea"/>
                <a:cs typeface="+mn-cs"/>
              </a:rPr>
              <a:t>Simple, simple, simple.  Mature over time through crawl, walk, run</a:t>
            </a:r>
          </a:p>
          <a:p>
            <a:pPr marL="349250" marR="0" lvl="0" indent="-349250" algn="l" defTabSz="457200" rtl="0" eaLnBrk="1" fontAlgn="t" latinLnBrk="0" hangingPunct="1">
              <a:lnSpc>
                <a:spcPct val="150000"/>
              </a:lnSpc>
              <a:spcBef>
                <a:spcPts val="1200"/>
              </a:spcBef>
              <a:spcAft>
                <a:spcPts val="0"/>
              </a:spcAft>
              <a:buClrTx/>
              <a:buSzTx/>
              <a:buFont typeface="Wingdings" panose="05000000000000000000" pitchFamily="2" charset="2"/>
              <a:buChar char="Ø"/>
              <a:tabLst/>
              <a:defRPr/>
            </a:pPr>
            <a:r>
              <a:rPr kumimoji="0" lang="en-US" sz="1600" b="1" i="0" u="none" strike="noStrike" kern="1200" cap="none" spc="0" normalizeH="0" baseline="0" noProof="0" dirty="0">
                <a:ln>
                  <a:noFill/>
                </a:ln>
                <a:solidFill>
                  <a:srgbClr val="000000"/>
                </a:solidFill>
                <a:effectLst/>
                <a:uLnTx/>
                <a:uFillTx/>
                <a:latin typeface="Century Gothic" panose="020F0302020204030204"/>
                <a:ea typeface="+mn-ea"/>
                <a:cs typeface="+mn-cs"/>
              </a:rPr>
              <a:t>Create the common language &amp; tool set required for horizontal learning  </a:t>
            </a:r>
          </a:p>
          <a:p>
            <a:pPr marL="349250" marR="0" lvl="0" indent="-349250" algn="l" defTabSz="457200" rtl="0" eaLnBrk="1" fontAlgn="t" latinLnBrk="0" hangingPunct="1">
              <a:lnSpc>
                <a:spcPct val="150000"/>
              </a:lnSpc>
              <a:spcBef>
                <a:spcPts val="1200"/>
              </a:spcBef>
              <a:spcAft>
                <a:spcPts val="0"/>
              </a:spcAft>
              <a:buClrTx/>
              <a:buSzTx/>
              <a:buFont typeface="Wingdings" panose="05000000000000000000" pitchFamily="2" charset="2"/>
              <a:buChar char="Ø"/>
              <a:tabLst/>
              <a:defRPr/>
            </a:pPr>
            <a:r>
              <a:rPr kumimoji="0" lang="en-US" sz="1600" b="1" i="0" u="none" strike="noStrike" kern="1200" cap="none" spc="0" normalizeH="0" baseline="0" noProof="0" dirty="0">
                <a:ln>
                  <a:noFill/>
                </a:ln>
                <a:solidFill>
                  <a:srgbClr val="000000"/>
                </a:solidFill>
                <a:effectLst/>
                <a:uLnTx/>
                <a:uFillTx/>
                <a:latin typeface="Century Gothic" panose="020F0302020204030204"/>
                <a:ea typeface="+mn-ea"/>
                <a:cs typeface="+mn-cs"/>
              </a:rPr>
              <a:t>Strategy Deployment ensures clear direction, alignment &amp; prioritization </a:t>
            </a:r>
          </a:p>
          <a:p>
            <a:pPr marL="349250" marR="0" lvl="0" indent="-349250" algn="l" defTabSz="457200" rtl="0" eaLnBrk="1" fontAlgn="t" latinLnBrk="0" hangingPunct="1">
              <a:lnSpc>
                <a:spcPct val="150000"/>
              </a:lnSpc>
              <a:spcBef>
                <a:spcPts val="1200"/>
              </a:spcBef>
              <a:spcAft>
                <a:spcPts val="0"/>
              </a:spcAft>
              <a:buClrTx/>
              <a:buSzTx/>
              <a:buFont typeface="Wingdings" panose="05000000000000000000" pitchFamily="2" charset="2"/>
              <a:buChar char="Ø"/>
              <a:tabLst/>
              <a:defRPr/>
            </a:pPr>
            <a:r>
              <a:rPr kumimoji="0" lang="en-US" sz="1600" b="1" i="0" u="none" strike="noStrike" kern="1200" cap="none" spc="0" normalizeH="0" baseline="0" noProof="0" dirty="0">
                <a:ln>
                  <a:noFill/>
                </a:ln>
                <a:solidFill>
                  <a:srgbClr val="000000"/>
                </a:solidFill>
                <a:effectLst/>
                <a:uLnTx/>
                <a:uFillTx/>
                <a:latin typeface="Century Gothic" panose="020F0302020204030204"/>
                <a:ea typeface="+mn-ea"/>
                <a:cs typeface="+mn-cs"/>
              </a:rPr>
              <a:t>All activities obsessively focused on moving towards True North</a:t>
            </a:r>
          </a:p>
          <a:p>
            <a:pPr marL="349250" marR="0" lvl="0" indent="-349250" algn="l" defTabSz="457200" rtl="0" eaLnBrk="1" fontAlgn="t" latinLnBrk="0" hangingPunct="1">
              <a:lnSpc>
                <a:spcPct val="150000"/>
              </a:lnSpc>
              <a:spcBef>
                <a:spcPts val="1200"/>
              </a:spcBef>
              <a:spcAft>
                <a:spcPts val="0"/>
              </a:spcAft>
              <a:buClrTx/>
              <a:buSzTx/>
              <a:buFont typeface="Wingdings" panose="05000000000000000000" pitchFamily="2" charset="2"/>
              <a:buChar char="Ø"/>
              <a:tabLst/>
              <a:defRPr/>
            </a:pPr>
            <a:r>
              <a:rPr kumimoji="0" lang="en-US" sz="1600" b="1" i="0" u="none" strike="noStrike" kern="1200" cap="none" spc="0" normalizeH="0" baseline="0" noProof="0" dirty="0">
                <a:ln>
                  <a:noFill/>
                </a:ln>
                <a:solidFill>
                  <a:srgbClr val="000000"/>
                </a:solidFill>
                <a:effectLst/>
                <a:uLnTx/>
                <a:uFillTx/>
                <a:latin typeface="Century Gothic" panose="020F0302020204030204"/>
                <a:ea typeface="+mn-ea"/>
                <a:cs typeface="+mn-cs"/>
              </a:rPr>
              <a:t>Go &amp; See Leadership: Lead from the front, not the office or a conference room</a:t>
            </a:r>
          </a:p>
          <a:p>
            <a:pPr marL="349250" marR="0" lvl="0" indent="-349250" algn="l" defTabSz="457200" rtl="0" eaLnBrk="1" fontAlgn="t" latinLnBrk="0" hangingPunct="1">
              <a:lnSpc>
                <a:spcPct val="150000"/>
              </a:lnSpc>
              <a:spcBef>
                <a:spcPts val="1200"/>
              </a:spcBef>
              <a:spcAft>
                <a:spcPts val="0"/>
              </a:spcAft>
              <a:buClrTx/>
              <a:buSzTx/>
              <a:buFont typeface="Wingdings" panose="05000000000000000000" pitchFamily="2" charset="2"/>
              <a:buChar char="Ø"/>
              <a:tabLst/>
              <a:defRPr/>
            </a:pPr>
            <a:r>
              <a:rPr kumimoji="0" lang="en-US" sz="1600" b="1" i="0" u="none" strike="noStrike" kern="1200" cap="none" spc="0" normalizeH="0" baseline="0" noProof="0" dirty="0">
                <a:ln>
                  <a:noFill/>
                </a:ln>
                <a:solidFill>
                  <a:srgbClr val="000000"/>
                </a:solidFill>
                <a:effectLst/>
                <a:uLnTx/>
                <a:uFillTx/>
                <a:latin typeface="Century Gothic" panose="020F0302020204030204"/>
                <a:ea typeface="+mn-ea"/>
                <a:cs typeface="+mn-cs"/>
              </a:rPr>
              <a:t>Our Job = “Do the Work” + “Improve the Work”</a:t>
            </a:r>
          </a:p>
          <a:p>
            <a:pPr marL="349250" marR="0" lvl="0" indent="-349250" algn="l" defTabSz="457200" rtl="0" eaLnBrk="1" fontAlgn="t" latinLnBrk="0" hangingPunct="1">
              <a:lnSpc>
                <a:spcPct val="150000"/>
              </a:lnSpc>
              <a:spcBef>
                <a:spcPts val="1200"/>
              </a:spcBef>
              <a:spcAft>
                <a:spcPts val="0"/>
              </a:spcAft>
              <a:buClrTx/>
              <a:buSzTx/>
              <a:buFont typeface="Wingdings" panose="05000000000000000000" pitchFamily="2" charset="2"/>
              <a:buChar char="Ø"/>
              <a:tabLst/>
              <a:defRPr/>
            </a:pPr>
            <a:r>
              <a:rPr kumimoji="0" lang="en-US" sz="1600" b="1" i="0" u="none" strike="noStrike" kern="1200" cap="none" spc="0" normalizeH="0" baseline="0" noProof="0" dirty="0">
                <a:ln>
                  <a:noFill/>
                </a:ln>
                <a:solidFill>
                  <a:srgbClr val="000000"/>
                </a:solidFill>
                <a:effectLst/>
                <a:uLnTx/>
                <a:uFillTx/>
                <a:latin typeface="Century Gothic" panose="020F0302020204030204"/>
                <a:ea typeface="+mn-ea"/>
                <a:cs typeface="+mn-cs"/>
              </a:rPr>
              <a:t>PDCA in all we do:  Don’t study too long &amp; know it will be wrong.  Go do it!!!</a:t>
            </a:r>
          </a:p>
          <a:p>
            <a:pPr marL="349250" marR="0" lvl="0" indent="-349250" algn="l" defTabSz="457200" rtl="0" eaLnBrk="1" fontAlgn="t" latinLnBrk="0" hangingPunct="1">
              <a:lnSpc>
                <a:spcPct val="150000"/>
              </a:lnSpc>
              <a:spcBef>
                <a:spcPts val="1200"/>
              </a:spcBef>
              <a:spcAft>
                <a:spcPts val="0"/>
              </a:spcAft>
              <a:buClrTx/>
              <a:buSzTx/>
              <a:buFont typeface="Wingdings" panose="05000000000000000000" pitchFamily="2" charset="2"/>
              <a:buChar char="Ø"/>
              <a:tabLst/>
              <a:defRPr/>
            </a:pPr>
            <a:r>
              <a:rPr kumimoji="0" lang="en-US" sz="1600" b="1" i="0" u="none" strike="noStrike" kern="1200" cap="none" spc="0" normalizeH="0" baseline="0" noProof="0" dirty="0">
                <a:ln>
                  <a:noFill/>
                </a:ln>
                <a:solidFill>
                  <a:srgbClr val="000000"/>
                </a:solidFill>
                <a:effectLst/>
                <a:uLnTx/>
                <a:uFillTx/>
                <a:latin typeface="Century Gothic" panose="020F0302020204030204"/>
                <a:ea typeface="+mn-ea"/>
                <a:cs typeface="+mn-cs"/>
              </a:rPr>
              <a:t>Not about a score.  About getting better than yesterday</a:t>
            </a:r>
          </a:p>
        </p:txBody>
      </p:sp>
    </p:spTree>
    <p:extLst>
      <p:ext uri="{BB962C8B-B14F-4D97-AF65-F5344CB8AC3E}">
        <p14:creationId xmlns:p14="http://schemas.microsoft.com/office/powerpoint/2010/main" val="2350892308"/>
      </p:ext>
    </p:extLst>
  </p:cSld>
  <p:clrMapOvr>
    <a:masterClrMapping/>
  </p:clrMapOvr>
  <p:transition advClick="0"/>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34D51-DC26-4D14-9C0E-2DC164742074}"/>
              </a:ext>
            </a:extLst>
          </p:cNvPr>
          <p:cNvSpPr>
            <a:spLocks noGrp="1"/>
          </p:cNvSpPr>
          <p:nvPr>
            <p:ph type="title"/>
          </p:nvPr>
        </p:nvSpPr>
        <p:spPr>
          <a:xfrm>
            <a:off x="609600" y="1757811"/>
            <a:ext cx="10972800" cy="3945759"/>
          </a:xfrm>
        </p:spPr>
        <p:txBody>
          <a:bodyPr/>
          <a:lstStyle/>
          <a:p>
            <a:pPr algn="ctr"/>
            <a:r>
              <a:rPr lang="en-US" sz="4000" i="1" dirty="0">
                <a:latin typeface="Century Gothic" panose="020F0302020204030204"/>
              </a:rPr>
              <a:t>This is not hard to understand,</a:t>
            </a:r>
            <a:br>
              <a:rPr lang="en-US" sz="4000" i="1" dirty="0">
                <a:latin typeface="Century Gothic" panose="020F0302020204030204"/>
              </a:rPr>
            </a:br>
            <a:br>
              <a:rPr lang="en-US" sz="4000" i="1" dirty="0">
                <a:latin typeface="Century Gothic" panose="020F0302020204030204"/>
              </a:rPr>
            </a:br>
            <a:r>
              <a:rPr lang="en-US" sz="4000" i="1" dirty="0">
                <a:latin typeface="Century Gothic" panose="020F0302020204030204"/>
              </a:rPr>
              <a:t>It is hard to do!</a:t>
            </a:r>
            <a:br>
              <a:rPr lang="en-US" sz="4000" i="1" dirty="0">
                <a:latin typeface="Century Gothic" panose="020F0302020204030204"/>
              </a:rPr>
            </a:br>
            <a:endParaRPr lang="en-US" sz="4000" dirty="0"/>
          </a:p>
        </p:txBody>
      </p:sp>
    </p:spTree>
    <p:extLst>
      <p:ext uri="{BB962C8B-B14F-4D97-AF65-F5344CB8AC3E}">
        <p14:creationId xmlns:p14="http://schemas.microsoft.com/office/powerpoint/2010/main" val="216401780"/>
      </p:ext>
    </p:extLst>
  </p:cSld>
  <p:clrMapOvr>
    <a:masterClrMapping/>
  </p:clrMapOvr>
  <p:transition>
    <p:cove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0" name="Rectangle 8"/>
          <p:cNvSpPr>
            <a:spLocks noGrp="1"/>
          </p:cNvSpPr>
          <p:nvPr>
            <p:ph type="title"/>
          </p:nvPr>
        </p:nvSpPr>
        <p:spPr>
          <a:xfrm>
            <a:off x="5439052" y="1837328"/>
            <a:ext cx="4847208" cy="3358835"/>
          </a:xfrm>
        </p:spPr>
        <p:txBody>
          <a:bodyPr/>
          <a:lstStyle/>
          <a:p>
            <a:pPr algn="ctr"/>
            <a:r>
              <a:rPr lang="en-US" sz="4000" dirty="0"/>
              <a:t>Driving Agility </a:t>
            </a:r>
            <a:br>
              <a:rPr lang="en-US" sz="4000" dirty="0"/>
            </a:br>
            <a:r>
              <a:rPr lang="en-US" sz="4000" dirty="0"/>
              <a:t>with the </a:t>
            </a:r>
            <a:br>
              <a:rPr lang="en-US" sz="4000" dirty="0"/>
            </a:br>
            <a:r>
              <a:rPr lang="en-US" sz="4000" dirty="0"/>
              <a:t>“Operations Management System”</a:t>
            </a:r>
            <a:br>
              <a:rPr lang="en-US" sz="4000" dirty="0"/>
            </a:br>
            <a:r>
              <a:rPr lang="en-US" sz="4000" dirty="0"/>
              <a:t> </a:t>
            </a:r>
          </a:p>
        </p:txBody>
      </p:sp>
      <p:sp>
        <p:nvSpPr>
          <p:cNvPr id="18" name="Rectangle 17"/>
          <p:cNvSpPr/>
          <p:nvPr/>
        </p:nvSpPr>
        <p:spPr>
          <a:xfrm>
            <a:off x="6301973" y="5410341"/>
            <a:ext cx="3121367" cy="461665"/>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entury Gothic" panose="020F0302020204030204"/>
                <a:ea typeface="+mn-ea"/>
                <a:cs typeface="Arial" charset="0"/>
              </a:rPr>
              <a:t>September 27, 2019</a:t>
            </a:r>
          </a:p>
        </p:txBody>
      </p:sp>
    </p:spTree>
    <p:extLst>
      <p:ext uri="{BB962C8B-B14F-4D97-AF65-F5344CB8AC3E}">
        <p14:creationId xmlns:p14="http://schemas.microsoft.com/office/powerpoint/2010/main" val="34888777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3C6A9058-9B4E-4838-9BE2-05326A34D468}"/>
              </a:ext>
            </a:extLst>
          </p:cNvPr>
          <p:cNvSpPr>
            <a:spLocks noGrp="1"/>
          </p:cNvSpPr>
          <p:nvPr>
            <p:ph type="title"/>
          </p:nvPr>
        </p:nvSpPr>
        <p:spPr/>
        <p:txBody>
          <a:bodyPr/>
          <a:lstStyle/>
          <a:p>
            <a:r>
              <a:rPr lang="en-US" dirty="0">
                <a:solidFill>
                  <a:schemeClr val="bg1"/>
                </a:solidFill>
              </a:rPr>
              <a:t>Shigeo Shingo Quote </a:t>
            </a:r>
          </a:p>
        </p:txBody>
      </p:sp>
      <p:pic>
        <p:nvPicPr>
          <p:cNvPr id="8194" name="Picture 2" descr="&quot;Unless you are heading straight for your objectives, the most heroic efforts in the world will only be as effective as the component of work directly related to your goal. Indeed, when carrying out improvements, you will only be truly effective when you first set your objectives and then head straight for them&quot; -Shigeo Shingo&#10;The Sayings of Shigeo Shingo, p.53">
            <a:extLst>
              <a:ext uri="{FF2B5EF4-FFF2-40B4-BE49-F238E27FC236}">
                <a16:creationId xmlns:a16="http://schemas.microsoft.com/office/drawing/2014/main" id="{74F63A55-D013-4EB2-9D81-A51E12D5A5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54579" y="860142"/>
            <a:ext cx="8082844" cy="42333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1427966"/>
      </p:ext>
    </p:extLst>
  </p:cSld>
  <p:clrMapOvr>
    <a:masterClrMapping/>
  </p:clrMapOvr>
  <p:transition>
    <p:cove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E8806A-C297-490E-B603-5CB5CC116901}"/>
              </a:ext>
            </a:extLst>
          </p:cNvPr>
          <p:cNvSpPr>
            <a:spLocks noGrp="1"/>
          </p:cNvSpPr>
          <p:nvPr>
            <p:ph type="title"/>
          </p:nvPr>
        </p:nvSpPr>
        <p:spPr>
          <a:xfrm>
            <a:off x="583017" y="387360"/>
            <a:ext cx="10972800" cy="1180640"/>
          </a:xfrm>
        </p:spPr>
        <p:txBody>
          <a:bodyPr/>
          <a:lstStyle/>
          <a:p>
            <a:pPr algn="ctr"/>
            <a:r>
              <a:rPr lang="en-US" dirty="0" err="1">
                <a:latin typeface="Arial Black" panose="020B0A04020102020204" pitchFamily="34" charset="0"/>
              </a:rPr>
              <a:t>Hillrom</a:t>
            </a:r>
            <a:r>
              <a:rPr lang="en-US" dirty="0">
                <a:latin typeface="Arial Black" panose="020B0A04020102020204" pitchFamily="34" charset="0"/>
              </a:rPr>
              <a:t> Global Operations</a:t>
            </a:r>
            <a:br>
              <a:rPr lang="en-US" dirty="0">
                <a:latin typeface="Arial Black" panose="020B0A04020102020204" pitchFamily="34" charset="0"/>
              </a:rPr>
            </a:br>
            <a:r>
              <a:rPr lang="en-US" dirty="0">
                <a:latin typeface="Arial Black" panose="020B0A04020102020204" pitchFamily="34" charset="0"/>
              </a:rPr>
              <a:t> </a:t>
            </a:r>
            <a:r>
              <a:rPr lang="en-US" dirty="0">
                <a:solidFill>
                  <a:srgbClr val="0070C0"/>
                </a:solidFill>
                <a:latin typeface="Arial Black" panose="020B0A04020102020204" pitchFamily="34" charset="0"/>
              </a:rPr>
              <a:t>True North</a:t>
            </a:r>
            <a:br>
              <a:rPr lang="en-US" dirty="0">
                <a:solidFill>
                  <a:srgbClr val="0070C0"/>
                </a:solidFill>
                <a:latin typeface="Arial Black" panose="020B0A04020102020204" pitchFamily="34" charset="0"/>
              </a:rPr>
            </a:br>
            <a:endParaRPr lang="en-US" dirty="0"/>
          </a:p>
        </p:txBody>
      </p:sp>
      <p:grpSp>
        <p:nvGrpSpPr>
          <p:cNvPr id="103" name="Group 102" descr="Play to win &#10;Be Great Team Players &#10;Do the Work &amp; improve the Work&#10;Know Your Customer and Meet Expectations&#10;People:&#10;Build a zero-harm workplace&#10;create a culture of diversity, inclusion, and performance&#10;Quality:&#10;Constant Audit readiness&#10;relentless focus on zero defects&#10;improve our quality sub-systems&#10;Delivery:&#10;Create a robust planning system &#10;optimize the end-to-end network&#10;achieve inventory &amp; service level Targets&#10;Cost:&#10;Achieve year over year cost improvements &#10;VIP/VOP&gt;5% Annually">
            <a:extLst>
              <a:ext uri="{FF2B5EF4-FFF2-40B4-BE49-F238E27FC236}">
                <a16:creationId xmlns:a16="http://schemas.microsoft.com/office/drawing/2014/main" id="{709551A4-0374-4D71-B70D-D06754310BC2}"/>
              </a:ext>
            </a:extLst>
          </p:cNvPr>
          <p:cNvGrpSpPr/>
          <p:nvPr/>
        </p:nvGrpSpPr>
        <p:grpSpPr>
          <a:xfrm>
            <a:off x="2502196" y="1437637"/>
            <a:ext cx="7134447" cy="4209660"/>
            <a:chOff x="2340528" y="1323032"/>
            <a:chExt cx="7249857" cy="4406648"/>
          </a:xfrm>
        </p:grpSpPr>
        <p:sp>
          <p:nvSpPr>
            <p:cNvPr id="104" name="Rectangle 103">
              <a:extLst>
                <a:ext uri="{FF2B5EF4-FFF2-40B4-BE49-F238E27FC236}">
                  <a16:creationId xmlns:a16="http://schemas.microsoft.com/office/drawing/2014/main" id="{60A37D41-45AC-48C7-86AE-7BA7F464ABA7}"/>
                </a:ext>
              </a:extLst>
            </p:cNvPr>
            <p:cNvSpPr/>
            <p:nvPr/>
          </p:nvSpPr>
          <p:spPr>
            <a:xfrm>
              <a:off x="2340528" y="1323032"/>
              <a:ext cx="7249853" cy="1942830"/>
            </a:xfrm>
            <a:prstGeom prst="rect">
              <a:avLst/>
            </a:prstGeom>
            <a:solidFill>
              <a:srgbClr val="0070C0"/>
            </a:solidFill>
            <a:ln w="12700">
              <a:solidFill>
                <a:srgbClr val="298FC2"/>
              </a:solidFill>
            </a:ln>
            <a:effectLst/>
          </p:spPr>
          <p:txBody>
            <a:bodyPr rot="0" spcFirstLastPara="0"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FFFFFF"/>
                  </a:solidFill>
                  <a:effectLst/>
                  <a:uLnTx/>
                  <a:uFillTx/>
                  <a:latin typeface="Calibri"/>
                  <a:ea typeface="+mn-ea"/>
                  <a:cs typeface="+mn-cs"/>
                </a:rPr>
                <a:t>Play to W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FFFFFF"/>
                  </a:solidFill>
                  <a:effectLst/>
                  <a:uLnTx/>
                  <a:uFillTx/>
                  <a:latin typeface="Calibri"/>
                  <a:ea typeface="+mn-ea"/>
                  <a:cs typeface="+mn-cs"/>
                </a:rPr>
                <a:t>Be Great Team Play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FFFFFF"/>
                  </a:solidFill>
                  <a:effectLst/>
                  <a:uLnTx/>
                  <a:uFillTx/>
                  <a:latin typeface="Calibri"/>
                  <a:ea typeface="+mn-ea"/>
                  <a:cs typeface="+mn-cs"/>
                </a:rPr>
                <a:t>Do The Work &amp; Improve The Wor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FFFFFF"/>
                  </a:solidFill>
                  <a:effectLst/>
                  <a:uLnTx/>
                  <a:uFillTx/>
                  <a:latin typeface="Calibri"/>
                  <a:ea typeface="+mn-ea"/>
                  <a:cs typeface="+mn-cs"/>
                </a:rPr>
                <a:t>Know Your Customer and Meet Expectations</a:t>
              </a:r>
            </a:p>
          </p:txBody>
        </p:sp>
        <p:sp>
          <p:nvSpPr>
            <p:cNvPr id="105" name="Rectangle 104">
              <a:extLst>
                <a:ext uri="{FF2B5EF4-FFF2-40B4-BE49-F238E27FC236}">
                  <a16:creationId xmlns:a16="http://schemas.microsoft.com/office/drawing/2014/main" id="{D474A488-F2CB-4A73-A7BF-709123052C97}"/>
                </a:ext>
              </a:extLst>
            </p:cNvPr>
            <p:cNvSpPr/>
            <p:nvPr/>
          </p:nvSpPr>
          <p:spPr>
            <a:xfrm>
              <a:off x="2340530" y="3256258"/>
              <a:ext cx="3624928" cy="1235887"/>
            </a:xfrm>
            <a:prstGeom prst="rect">
              <a:avLst/>
            </a:prstGeom>
            <a:noFill/>
            <a:ln w="12700" cap="flat" cmpd="sng" algn="ctr">
              <a:solidFill>
                <a:srgbClr val="298FC2">
                  <a:shade val="95000"/>
                  <a:satMod val="105000"/>
                </a:srgbClr>
              </a:solidFill>
              <a:prstDash val="solid"/>
            </a:ln>
            <a:effectLst/>
          </p:spPr>
          <p:txBody>
            <a:bodyPr rot="0" spcFirstLastPara="0" vert="horz" wrap="square" lIns="34290" tIns="34290" rIns="3429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0C0"/>
                  </a:solidFill>
                  <a:effectLst/>
                  <a:uLnTx/>
                  <a:uFillTx/>
                  <a:latin typeface="Arial Black" panose="020B0A04020102020204" pitchFamily="34" charset="0"/>
                  <a:ea typeface="+mn-ea"/>
                  <a:cs typeface="+mn-cs"/>
                </a:rPr>
                <a:t>Peop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alibri"/>
                  <a:ea typeface="+mn-ea"/>
                  <a:cs typeface="+mn-cs"/>
                </a:rPr>
                <a:t>Build a Zero-Harm Workpla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alibri"/>
                  <a:ea typeface="+mn-ea"/>
                  <a:cs typeface="+mn-cs"/>
                </a:rPr>
                <a:t>Create a Culture of Diversity, Inclusion, and Performance</a:t>
              </a:r>
            </a:p>
          </p:txBody>
        </p:sp>
        <p:sp>
          <p:nvSpPr>
            <p:cNvPr id="106" name="Rectangle 105">
              <a:extLst>
                <a:ext uri="{FF2B5EF4-FFF2-40B4-BE49-F238E27FC236}">
                  <a16:creationId xmlns:a16="http://schemas.microsoft.com/office/drawing/2014/main" id="{B1A34684-BD1D-4365-B98F-8D26FFC875AD}"/>
                </a:ext>
              </a:extLst>
            </p:cNvPr>
            <p:cNvSpPr/>
            <p:nvPr/>
          </p:nvSpPr>
          <p:spPr>
            <a:xfrm>
              <a:off x="5965457" y="3256258"/>
              <a:ext cx="3624928" cy="1235887"/>
            </a:xfrm>
            <a:prstGeom prst="rect">
              <a:avLst/>
            </a:prstGeom>
            <a:noFill/>
            <a:ln w="12700" cap="flat" cmpd="sng" algn="ctr">
              <a:solidFill>
                <a:srgbClr val="298FC2">
                  <a:shade val="95000"/>
                  <a:satMod val="105000"/>
                </a:srgbClr>
              </a:solidFill>
              <a:prstDash val="solid"/>
            </a:ln>
            <a:effectLst/>
          </p:spPr>
          <p:txBody>
            <a:bodyPr rot="0" spcFirstLastPara="0" vert="horz" wrap="square" lIns="34290" tIns="34290" rIns="3429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0C0"/>
                  </a:solidFill>
                  <a:effectLst/>
                  <a:uLnTx/>
                  <a:uFillTx/>
                  <a:latin typeface="Arial Black" panose="020B0A04020102020204" pitchFamily="34" charset="0"/>
                  <a:ea typeface="+mn-ea"/>
                  <a:cs typeface="+mn-cs"/>
                </a:rPr>
                <a:t>Qua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alibri"/>
                  <a:ea typeface="+mn-ea"/>
                  <a:cs typeface="+mn-cs"/>
                </a:rPr>
                <a:t>Constant Audit Readin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alibri"/>
                  <a:ea typeface="+mn-ea"/>
                  <a:cs typeface="+mn-cs"/>
                </a:rPr>
                <a:t>Relentless Focus on Zero Defec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alibri"/>
                  <a:ea typeface="+mn-ea"/>
                  <a:cs typeface="+mn-cs"/>
                </a:rPr>
                <a:t>Improve Our Quality Sub-Systems</a:t>
              </a:r>
            </a:p>
          </p:txBody>
        </p:sp>
        <p:sp>
          <p:nvSpPr>
            <p:cNvPr id="107" name="Rectangle 106">
              <a:extLst>
                <a:ext uri="{FF2B5EF4-FFF2-40B4-BE49-F238E27FC236}">
                  <a16:creationId xmlns:a16="http://schemas.microsoft.com/office/drawing/2014/main" id="{699FDE01-9156-41B7-8D87-606DE865A31F}"/>
                </a:ext>
              </a:extLst>
            </p:cNvPr>
            <p:cNvSpPr/>
            <p:nvPr/>
          </p:nvSpPr>
          <p:spPr>
            <a:xfrm>
              <a:off x="2340530" y="4493793"/>
              <a:ext cx="3624928" cy="1235887"/>
            </a:xfrm>
            <a:prstGeom prst="rect">
              <a:avLst/>
            </a:prstGeom>
            <a:noFill/>
            <a:ln w="12700" cap="flat" cmpd="sng" algn="ctr">
              <a:solidFill>
                <a:srgbClr val="298FC2">
                  <a:shade val="95000"/>
                  <a:satMod val="105000"/>
                </a:srgbClr>
              </a:solidFill>
              <a:prstDash val="solid"/>
            </a:ln>
            <a:effectLst/>
          </p:spPr>
          <p:txBody>
            <a:bodyPr rot="0" spcFirstLastPara="0" vert="horz" wrap="square" lIns="34290" tIns="34290" rIns="3429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0C0"/>
                  </a:solidFill>
                  <a:effectLst/>
                  <a:uLnTx/>
                  <a:uFillTx/>
                  <a:latin typeface="Arial Black" panose="020B0A04020102020204" pitchFamily="34" charset="0"/>
                  <a:ea typeface="+mn-ea"/>
                  <a:cs typeface="+mn-cs"/>
                </a:rPr>
                <a:t>Delive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lumMod val="50000"/>
                    </a:srgbClr>
                  </a:solidFill>
                  <a:effectLst/>
                  <a:uLnTx/>
                  <a:uFillTx/>
                  <a:latin typeface="Calibri"/>
                  <a:ea typeface="+mn-ea"/>
                  <a:cs typeface="+mn-cs"/>
                </a:rPr>
                <a:t> </a:t>
              </a:r>
              <a:r>
                <a:rPr kumimoji="0" lang="en-US" sz="1400" b="0" i="0" u="none" strike="noStrike" kern="0" cap="none" spc="0" normalizeH="0" baseline="0" noProof="0" dirty="0">
                  <a:ln>
                    <a:noFill/>
                  </a:ln>
                  <a:solidFill>
                    <a:srgbClr val="000000"/>
                  </a:solidFill>
                  <a:effectLst/>
                  <a:uLnTx/>
                  <a:uFillTx/>
                  <a:latin typeface="Calibri"/>
                  <a:ea typeface="+mn-ea"/>
                  <a:cs typeface="+mn-cs"/>
                </a:rPr>
                <a:t>Create A Robust Planning 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alibri"/>
                  <a:ea typeface="+mn-ea"/>
                  <a:cs typeface="+mn-cs"/>
                </a:rPr>
                <a:t>Optimize The End-to-End Networ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alibri"/>
                  <a:ea typeface="+mn-ea"/>
                  <a:cs typeface="+mn-cs"/>
                </a:rPr>
                <a:t>Achieve Inventory &amp; Service Level Targets</a:t>
              </a:r>
            </a:p>
          </p:txBody>
        </p:sp>
        <p:sp>
          <p:nvSpPr>
            <p:cNvPr id="108" name="Rectangle 107">
              <a:extLst>
                <a:ext uri="{FF2B5EF4-FFF2-40B4-BE49-F238E27FC236}">
                  <a16:creationId xmlns:a16="http://schemas.microsoft.com/office/drawing/2014/main" id="{6680BCAF-25E3-45D8-9B2E-98E0DBD3BD2F}"/>
                </a:ext>
              </a:extLst>
            </p:cNvPr>
            <p:cNvSpPr/>
            <p:nvPr/>
          </p:nvSpPr>
          <p:spPr>
            <a:xfrm>
              <a:off x="5965457" y="4493793"/>
              <a:ext cx="3624928" cy="1235887"/>
            </a:xfrm>
            <a:prstGeom prst="rect">
              <a:avLst/>
            </a:prstGeom>
            <a:noFill/>
            <a:ln w="12700" cap="flat" cmpd="sng" algn="ctr">
              <a:solidFill>
                <a:srgbClr val="298FC2">
                  <a:shade val="95000"/>
                  <a:satMod val="105000"/>
                </a:srgbClr>
              </a:solidFill>
              <a:prstDash val="solid"/>
            </a:ln>
            <a:effectLst/>
          </p:spPr>
          <p:txBody>
            <a:bodyPr rot="0" spcFirstLastPara="0" vert="horz" wrap="square" lIns="34290" tIns="34290" rIns="3429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0C0"/>
                  </a:solidFill>
                  <a:effectLst/>
                  <a:uLnTx/>
                  <a:uFillTx/>
                  <a:latin typeface="Arial Black" panose="020B0A04020102020204" pitchFamily="34" charset="0"/>
                  <a:ea typeface="+mn-ea"/>
                  <a:cs typeface="+mn-cs"/>
                </a:rPr>
                <a:t>Co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alibri"/>
                  <a:ea typeface="+mn-ea"/>
                  <a:cs typeface="+mn-cs"/>
                </a:rPr>
                <a:t>Achieve Year Over Year Cost Improvement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alibri"/>
                  <a:ea typeface="+mn-ea"/>
                  <a:cs typeface="+mn-cs"/>
                </a:rPr>
                <a:t>VIP/VOP &gt; 5% Annually </a:t>
              </a:r>
            </a:p>
          </p:txBody>
        </p:sp>
      </p:grpSp>
    </p:spTree>
    <p:extLst>
      <p:ext uri="{BB962C8B-B14F-4D97-AF65-F5344CB8AC3E}">
        <p14:creationId xmlns:p14="http://schemas.microsoft.com/office/powerpoint/2010/main" val="2436864722"/>
      </p:ext>
    </p:extLst>
  </p:cSld>
  <p:clrMapOvr>
    <a:masterClrMapping/>
  </p:clrMapOvr>
  <p:transition>
    <p:cove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40F41470-5A1E-4C21-9600-DD25E504295E}"/>
              </a:ext>
            </a:extLst>
          </p:cNvPr>
          <p:cNvSpPr>
            <a:spLocks noGrp="1"/>
          </p:cNvSpPr>
          <p:nvPr>
            <p:ph type="title"/>
          </p:nvPr>
        </p:nvSpPr>
        <p:spPr/>
        <p:txBody>
          <a:bodyPr/>
          <a:lstStyle/>
          <a:p>
            <a:r>
              <a:rPr lang="en-US" dirty="0">
                <a:solidFill>
                  <a:schemeClr val="bg1"/>
                </a:solidFill>
              </a:rPr>
              <a:t>What is the “Operations Management System”</a:t>
            </a:r>
          </a:p>
        </p:txBody>
      </p:sp>
      <p:sp>
        <p:nvSpPr>
          <p:cNvPr id="3" name="Down Arrow Callout 2"/>
          <p:cNvSpPr/>
          <p:nvPr/>
        </p:nvSpPr>
        <p:spPr bwMode="auto">
          <a:xfrm>
            <a:off x="2234338" y="1478853"/>
            <a:ext cx="7848600" cy="2054573"/>
          </a:xfrm>
          <a:prstGeom prst="downArrowCallout">
            <a:avLst>
              <a:gd name="adj1" fmla="val 23866"/>
              <a:gd name="adj2" fmla="val 25000"/>
              <a:gd name="adj3" fmla="val 25000"/>
              <a:gd name="adj4" fmla="val 53068"/>
            </a:avLst>
          </a:prstGeom>
          <a:solidFill>
            <a:srgbClr val="0070C0"/>
          </a:solidFill>
          <a:ln w="12700">
            <a:solidFill>
              <a:srgbClr val="298FC2"/>
            </a:solidFill>
          </a:ln>
          <a:effectLst/>
        </p:spPr>
        <p:txBody>
          <a:bodyPr rot="0" spcFirstLastPara="0"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FFFFFF"/>
                </a:solidFill>
                <a:effectLst/>
                <a:uLnTx/>
                <a:uFillTx/>
                <a:latin typeface="Calibri"/>
                <a:ea typeface="+mn-ea"/>
                <a:cs typeface="+mn-cs"/>
              </a:rPr>
              <a:t>What is th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FFFFFF"/>
                </a:solidFill>
                <a:effectLst/>
                <a:uLnTx/>
                <a:uFillTx/>
                <a:latin typeface="Calibri"/>
                <a:ea typeface="+mn-ea"/>
                <a:cs typeface="+mn-cs"/>
              </a:rPr>
              <a:t>“Operations Management System”</a:t>
            </a:r>
          </a:p>
        </p:txBody>
      </p:sp>
      <p:sp>
        <p:nvSpPr>
          <p:cNvPr id="5" name="Rectangle 4"/>
          <p:cNvSpPr/>
          <p:nvPr/>
        </p:nvSpPr>
        <p:spPr bwMode="auto">
          <a:xfrm>
            <a:off x="2204157" y="4031124"/>
            <a:ext cx="7908965" cy="1218213"/>
          </a:xfrm>
          <a:prstGeom prst="rect">
            <a:avLst/>
          </a:prstGeom>
          <a:solidFill>
            <a:srgbClr val="0070C0"/>
          </a:solidFill>
          <a:ln w="12700">
            <a:solidFill>
              <a:srgbClr val="298FC2"/>
            </a:solidFill>
          </a:ln>
          <a:effectLst/>
        </p:spPr>
        <p:txBody>
          <a:bodyPr rot="0" spcFirstLastPara="0"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0" cap="none" spc="0" normalizeH="0" baseline="0" noProof="0" dirty="0">
                <a:ln>
                  <a:noFill/>
                </a:ln>
                <a:solidFill>
                  <a:srgbClr val="FFFFFF"/>
                </a:solidFill>
                <a:effectLst/>
                <a:uLnTx/>
                <a:uFillTx/>
                <a:latin typeface="Calibri"/>
                <a:ea typeface="+mn-ea"/>
                <a:cs typeface="+mn-cs"/>
              </a:rPr>
              <a:t>A series of integrated processes, tools &amp; “daily” routines, with clearly defined and aligned goals, deployed across the enterprise to drive superior results </a:t>
            </a:r>
          </a:p>
        </p:txBody>
      </p:sp>
    </p:spTree>
    <p:extLst>
      <p:ext uri="{BB962C8B-B14F-4D97-AF65-F5344CB8AC3E}">
        <p14:creationId xmlns:p14="http://schemas.microsoft.com/office/powerpoint/2010/main" val="1276264095"/>
      </p:ext>
    </p:extLst>
  </p:cSld>
  <p:clrMapOvr>
    <a:masterClrMapping/>
  </p:clrMapOvr>
  <p:transition>
    <p:cove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1395368-F900-4611-A0EA-E059EA1F8D91}"/>
              </a:ext>
            </a:extLst>
          </p:cNvPr>
          <p:cNvSpPr txBox="1">
            <a:spLocks noGrp="1"/>
          </p:cNvSpPr>
          <p:nvPr>
            <p:ph type="title"/>
          </p:nvPr>
        </p:nvSpPr>
        <p:spPr>
          <a:xfrm>
            <a:off x="609600" y="475398"/>
            <a:ext cx="10972800" cy="660400"/>
          </a:xfrm>
          <a:prstGeom prst="rect">
            <a:avLst/>
          </a:prstGeom>
          <a:solidFill>
            <a:srgbClr val="0070C0"/>
          </a:solidFill>
          <a:ln w="12700">
            <a:solidFill>
              <a:srgbClr val="298FC2"/>
            </a:solidFill>
          </a:ln>
          <a:effectLst/>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algn="ctr" defTabSz="914400">
              <a:defRPr sz="2800" b="1" kern="0">
                <a:solidFill>
                  <a:srgbClr val="FFFFFF"/>
                </a:solidFill>
                <a:latin typeface="Calibri"/>
              </a:defRPr>
            </a:lvl1pPr>
          </a:lstStyle>
          <a:p>
            <a:r>
              <a:rPr lang="en-US" dirty="0"/>
              <a:t>Why a disciplined operating system is imperative </a:t>
            </a:r>
          </a:p>
        </p:txBody>
      </p:sp>
      <p:sp>
        <p:nvSpPr>
          <p:cNvPr id="17411" name="TextBox 3"/>
          <p:cNvSpPr txBox="1">
            <a:spLocks noChangeArrowheads="1"/>
          </p:cNvSpPr>
          <p:nvPr/>
        </p:nvSpPr>
        <p:spPr bwMode="auto">
          <a:xfrm>
            <a:off x="1976761" y="1459497"/>
            <a:ext cx="8238478" cy="4262705"/>
          </a:xfrm>
          <a:prstGeom prst="rect">
            <a:avLst/>
          </a:prstGeom>
          <a:noFill/>
          <a:ln w="9525">
            <a:noFill/>
            <a:miter lim="800000"/>
            <a:headEnd/>
            <a:tailEnd/>
          </a:ln>
        </p:spPr>
        <p:txBody>
          <a:bodyPr wrap="square">
            <a:spAutoFit/>
          </a:bodyPr>
          <a:lstStyle/>
          <a:p>
            <a:pPr marL="349250" marR="0" lvl="0" indent="-349250" algn="l" defTabSz="457200" rtl="0" eaLnBrk="1" fontAlgn="t" latinLnBrk="0" hangingPunct="1">
              <a:lnSpc>
                <a:spcPct val="100000"/>
              </a:lnSpc>
              <a:spcBef>
                <a:spcPts val="4200"/>
              </a:spcBef>
              <a:spcAft>
                <a:spcPts val="0"/>
              </a:spcAft>
              <a:buClrTx/>
              <a:buSzTx/>
              <a:buFont typeface="Wingdings" pitchFamily="2" charset="2"/>
              <a:buChar char="Ø"/>
              <a:tabLst/>
              <a:defRPr/>
            </a:pPr>
            <a:r>
              <a:rPr kumimoji="0" lang="en-US" sz="1600" b="1" i="0" u="none" strike="noStrike" kern="1200" cap="none" spc="0" normalizeH="0" baseline="0" noProof="0" dirty="0">
                <a:ln>
                  <a:noFill/>
                </a:ln>
                <a:solidFill>
                  <a:srgbClr val="000000"/>
                </a:solidFill>
                <a:effectLst/>
                <a:uLnTx/>
                <a:uFillTx/>
                <a:latin typeface="Century Gothic" panose="020F0302020204030204"/>
                <a:ea typeface="+mn-ea"/>
                <a:cs typeface="+mn-cs"/>
              </a:rPr>
              <a:t>It defines the work habits, practices and routines we use to run our business </a:t>
            </a:r>
          </a:p>
          <a:p>
            <a:pPr marL="349250" marR="0" lvl="0" indent="-349250" algn="l" defTabSz="457200" rtl="0" eaLnBrk="1" fontAlgn="t" latinLnBrk="0" hangingPunct="1">
              <a:lnSpc>
                <a:spcPct val="100000"/>
              </a:lnSpc>
              <a:spcBef>
                <a:spcPts val="4200"/>
              </a:spcBef>
              <a:spcAft>
                <a:spcPts val="0"/>
              </a:spcAft>
              <a:buClrTx/>
              <a:buSzTx/>
              <a:buFont typeface="Wingdings" pitchFamily="2" charset="2"/>
              <a:buChar char="Ø"/>
              <a:tabLst/>
              <a:defRPr/>
            </a:pPr>
            <a:r>
              <a:rPr kumimoji="0" lang="en-US" sz="1600" b="1" i="0" u="none" strike="noStrike" kern="1200" cap="none" spc="0" normalizeH="0" baseline="0" noProof="0" dirty="0">
                <a:ln>
                  <a:noFill/>
                </a:ln>
                <a:solidFill>
                  <a:srgbClr val="000000"/>
                </a:solidFill>
                <a:effectLst/>
                <a:uLnTx/>
                <a:uFillTx/>
                <a:latin typeface="Century Gothic" panose="020F0302020204030204"/>
                <a:ea typeface="+mn-ea"/>
                <a:cs typeface="+mn-cs"/>
              </a:rPr>
              <a:t>It specifies how things are done in all areas of our business </a:t>
            </a:r>
          </a:p>
          <a:p>
            <a:pPr marL="349250" marR="0" lvl="0" indent="-349250" algn="l" defTabSz="457200" rtl="0" eaLnBrk="1" fontAlgn="auto" latinLnBrk="0" hangingPunct="1">
              <a:lnSpc>
                <a:spcPct val="100000"/>
              </a:lnSpc>
              <a:spcBef>
                <a:spcPts val="4200"/>
              </a:spcBef>
              <a:spcAft>
                <a:spcPts val="0"/>
              </a:spcAft>
              <a:buClrTx/>
              <a:buSzTx/>
              <a:buFont typeface="Wingdings" pitchFamily="2" charset="2"/>
              <a:buChar char="Ø"/>
              <a:tabLst/>
              <a:defRPr/>
            </a:pPr>
            <a:r>
              <a:rPr kumimoji="0" lang="en-US" sz="1600" b="1" i="0" u="none" strike="noStrike" kern="1200" cap="none" spc="0" normalizeH="0" baseline="0" noProof="0" dirty="0">
                <a:ln>
                  <a:noFill/>
                </a:ln>
                <a:solidFill>
                  <a:srgbClr val="000000"/>
                </a:solidFill>
                <a:effectLst/>
                <a:uLnTx/>
                <a:uFillTx/>
                <a:latin typeface="Century Gothic" panose="020F0302020204030204"/>
                <a:ea typeface="+mn-ea"/>
                <a:cs typeface="+mn-cs"/>
              </a:rPr>
              <a:t>Sustainable change can only come from executing a sound operating system</a:t>
            </a:r>
          </a:p>
          <a:p>
            <a:pPr marL="349250" marR="0" lvl="0" indent="-349250" algn="l" defTabSz="457200" rtl="0" eaLnBrk="1" fontAlgn="t" latinLnBrk="0" hangingPunct="1">
              <a:lnSpc>
                <a:spcPct val="100000"/>
              </a:lnSpc>
              <a:spcBef>
                <a:spcPts val="4200"/>
              </a:spcBef>
              <a:spcAft>
                <a:spcPts val="0"/>
              </a:spcAft>
              <a:buClrTx/>
              <a:buSzTx/>
              <a:buFont typeface="Wingdings" pitchFamily="2" charset="2"/>
              <a:buChar char="Ø"/>
              <a:tabLst/>
              <a:defRPr/>
            </a:pPr>
            <a:r>
              <a:rPr kumimoji="0" lang="en-US" sz="1600" b="1" i="0" u="none" strike="noStrike" kern="1200" cap="none" spc="0" normalizeH="0" baseline="0" noProof="0" dirty="0">
                <a:ln>
                  <a:noFill/>
                </a:ln>
                <a:solidFill>
                  <a:srgbClr val="000000"/>
                </a:solidFill>
                <a:effectLst/>
                <a:uLnTx/>
                <a:uFillTx/>
                <a:latin typeface="Century Gothic" panose="020F0302020204030204"/>
                <a:ea typeface="+mn-ea"/>
                <a:cs typeface="+mn-cs"/>
              </a:rPr>
              <a:t>It makes it easy to detect abnormal results &amp; requires actions to address them </a:t>
            </a:r>
          </a:p>
          <a:p>
            <a:pPr marL="349250" marR="0" lvl="0" indent="-349250" algn="l" defTabSz="457200" rtl="0" eaLnBrk="1" fontAlgn="t" latinLnBrk="0" hangingPunct="1">
              <a:lnSpc>
                <a:spcPct val="100000"/>
              </a:lnSpc>
              <a:spcBef>
                <a:spcPts val="4200"/>
              </a:spcBef>
              <a:spcAft>
                <a:spcPts val="0"/>
              </a:spcAft>
              <a:buClrTx/>
              <a:buSzTx/>
              <a:buFont typeface="Wingdings" pitchFamily="2" charset="2"/>
              <a:buChar char="Ø"/>
              <a:tabLst/>
              <a:defRPr/>
            </a:pPr>
            <a:r>
              <a:rPr kumimoji="0" lang="en-US" altLang="en-US" sz="1600" b="1" i="0" u="none" strike="noStrike" kern="1200" cap="none" spc="0" normalizeH="0" baseline="0" noProof="0" dirty="0">
                <a:ln>
                  <a:noFill/>
                </a:ln>
                <a:solidFill>
                  <a:srgbClr val="000000"/>
                </a:solidFill>
                <a:effectLst/>
                <a:uLnTx/>
                <a:uFillTx/>
                <a:latin typeface="Century Gothic" panose="020F0302020204030204"/>
                <a:ea typeface="+mn-ea"/>
                <a:cs typeface="+mn-cs"/>
              </a:rPr>
              <a:t>It creates the common language required for horizontal learning </a:t>
            </a:r>
          </a:p>
          <a:p>
            <a:pPr marL="349250" marR="0" lvl="0" indent="-349250" algn="l" defTabSz="457200" rtl="0" eaLnBrk="1" fontAlgn="t" latinLnBrk="0" hangingPunct="1">
              <a:lnSpc>
                <a:spcPct val="100000"/>
              </a:lnSpc>
              <a:spcBef>
                <a:spcPts val="4200"/>
              </a:spcBef>
              <a:spcAft>
                <a:spcPts val="0"/>
              </a:spcAft>
              <a:buClrTx/>
              <a:buSzTx/>
              <a:buFont typeface="Wingdings" pitchFamily="2" charset="2"/>
              <a:buChar char="Ø"/>
              <a:tabLst/>
              <a:defRPr/>
            </a:pPr>
            <a:r>
              <a:rPr kumimoji="0" lang="en-US" sz="1600" b="1" i="0" u="none" strike="noStrike" kern="1200" cap="none" spc="0" normalizeH="0" baseline="0" noProof="0" dirty="0">
                <a:ln>
                  <a:noFill/>
                </a:ln>
                <a:solidFill>
                  <a:srgbClr val="000000"/>
                </a:solidFill>
                <a:effectLst/>
                <a:uLnTx/>
                <a:uFillTx/>
                <a:latin typeface="Century Gothic" panose="020F0302020204030204"/>
                <a:ea typeface="+mn-ea"/>
                <a:cs typeface="+mn-cs"/>
              </a:rPr>
              <a:t>It creates intense momentum &amp; is difficult to change (A Flywheel)</a:t>
            </a:r>
          </a:p>
        </p:txBody>
      </p:sp>
    </p:spTree>
    <p:extLst>
      <p:ext uri="{BB962C8B-B14F-4D97-AF65-F5344CB8AC3E}">
        <p14:creationId xmlns:p14="http://schemas.microsoft.com/office/powerpoint/2010/main" val="1189970730"/>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A1CE1D52-43B0-46B9-882F-595EDD72DE5B}"/>
              </a:ext>
            </a:extLst>
          </p:cNvPr>
          <p:cNvSpPr>
            <a:spLocks noGrp="1"/>
          </p:cNvSpPr>
          <p:nvPr>
            <p:ph type="title"/>
          </p:nvPr>
        </p:nvSpPr>
        <p:spPr bwMode="auto">
          <a:xfrm>
            <a:off x="609600" y="346495"/>
            <a:ext cx="10972800" cy="660400"/>
          </a:xfrm>
          <a:prstGeom prst="rect">
            <a:avLst/>
          </a:prstGeom>
          <a:solidFill>
            <a:srgbClr val="0070C0"/>
          </a:solidFill>
          <a:ln w="12700">
            <a:solidFill>
              <a:srgbClr val="298FC2"/>
            </a:solidFill>
          </a:ln>
          <a:effectLst/>
        </p:spPr>
        <p:txBody>
          <a:bodyPr rot="0" spcFirstLastPara="0" vert="horz" wrap="square" lIns="68580" tIns="34290" rIns="68580" bIns="34290" numCol="1" spcCol="0" rtlCol="0" fromWordArt="0" anchor="ctr" anchorCtr="0" forceAA="0" compatLnSpc="1">
            <a:prstTxWarp prst="textNoShape">
              <a:avLst/>
            </a:prstTxWarp>
            <a:noAutofit/>
          </a:bodyPr>
          <a:lstStyle/>
          <a:p>
            <a:pPr algn="ctr" defTabSz="914400"/>
            <a:r>
              <a:rPr lang="en-US" sz="2800" b="1" kern="0" dirty="0">
                <a:solidFill>
                  <a:srgbClr val="FFFFFF"/>
                </a:solidFill>
                <a:latin typeface="Calibri"/>
              </a:rPr>
              <a:t>Our Management Systems Creates The Culture</a:t>
            </a:r>
          </a:p>
        </p:txBody>
      </p:sp>
      <p:pic>
        <p:nvPicPr>
          <p:cNvPr id="1036" name="Picture 12" descr="See Similar Images"/>
          <p:cNvPicPr>
            <a:picLocks noChangeAspect="1" noChangeArrowheads="1"/>
          </p:cNvPicPr>
          <p:nvPr/>
        </p:nvPicPr>
        <p:blipFill>
          <a:blip r:embed="rId2"/>
          <a:srcRect/>
          <a:stretch>
            <a:fillRect/>
          </a:stretch>
        </p:blipFill>
        <p:spPr bwMode="auto">
          <a:xfrm>
            <a:off x="2719792" y="1278318"/>
            <a:ext cx="914400" cy="897098"/>
          </a:xfrm>
          <a:prstGeom prst="rect">
            <a:avLst/>
          </a:prstGeom>
          <a:noFill/>
        </p:spPr>
      </p:pic>
      <p:sp>
        <p:nvSpPr>
          <p:cNvPr id="4" name="Freeform: Shape 3">
            <a:extLst>
              <a:ext uri="{FF2B5EF4-FFF2-40B4-BE49-F238E27FC236}">
                <a16:creationId xmlns:a16="http://schemas.microsoft.com/office/drawing/2014/main" id="{E4965EA1-07CC-4ABA-906F-E82F128DB1DB}"/>
              </a:ext>
            </a:extLst>
          </p:cNvPr>
          <p:cNvSpPr/>
          <p:nvPr/>
        </p:nvSpPr>
        <p:spPr>
          <a:xfrm>
            <a:off x="1931900" y="2597090"/>
            <a:ext cx="2490187" cy="2232042"/>
          </a:xfrm>
          <a:custGeom>
            <a:avLst/>
            <a:gdLst>
              <a:gd name="connsiteX0" fmla="*/ 0 w 2490187"/>
              <a:gd name="connsiteY0" fmla="*/ 223204 h 2232042"/>
              <a:gd name="connsiteX1" fmla="*/ 223204 w 2490187"/>
              <a:gd name="connsiteY1" fmla="*/ 0 h 2232042"/>
              <a:gd name="connsiteX2" fmla="*/ 2266983 w 2490187"/>
              <a:gd name="connsiteY2" fmla="*/ 0 h 2232042"/>
              <a:gd name="connsiteX3" fmla="*/ 2490187 w 2490187"/>
              <a:gd name="connsiteY3" fmla="*/ 223204 h 2232042"/>
              <a:gd name="connsiteX4" fmla="*/ 2490187 w 2490187"/>
              <a:gd name="connsiteY4" fmla="*/ 2008838 h 2232042"/>
              <a:gd name="connsiteX5" fmla="*/ 2266983 w 2490187"/>
              <a:gd name="connsiteY5" fmla="*/ 2232042 h 2232042"/>
              <a:gd name="connsiteX6" fmla="*/ 223204 w 2490187"/>
              <a:gd name="connsiteY6" fmla="*/ 2232042 h 2232042"/>
              <a:gd name="connsiteX7" fmla="*/ 0 w 2490187"/>
              <a:gd name="connsiteY7" fmla="*/ 2008838 h 2232042"/>
              <a:gd name="connsiteX8" fmla="*/ 0 w 2490187"/>
              <a:gd name="connsiteY8" fmla="*/ 223204 h 223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0187" h="2232042">
                <a:moveTo>
                  <a:pt x="0" y="223204"/>
                </a:moveTo>
                <a:cubicBezTo>
                  <a:pt x="0" y="99932"/>
                  <a:pt x="99932" y="0"/>
                  <a:pt x="223204" y="0"/>
                </a:cubicBezTo>
                <a:lnTo>
                  <a:pt x="2266983" y="0"/>
                </a:lnTo>
                <a:cubicBezTo>
                  <a:pt x="2390255" y="0"/>
                  <a:pt x="2490187" y="99932"/>
                  <a:pt x="2490187" y="223204"/>
                </a:cubicBezTo>
                <a:lnTo>
                  <a:pt x="2490187" y="2008838"/>
                </a:lnTo>
                <a:cubicBezTo>
                  <a:pt x="2490187" y="2132110"/>
                  <a:pt x="2390255" y="2232042"/>
                  <a:pt x="2266983" y="2232042"/>
                </a:cubicBezTo>
                <a:lnTo>
                  <a:pt x="223204" y="2232042"/>
                </a:lnTo>
                <a:cubicBezTo>
                  <a:pt x="99932" y="2232042"/>
                  <a:pt x="0" y="2132110"/>
                  <a:pt x="0" y="2008838"/>
                </a:cubicBezTo>
                <a:lnTo>
                  <a:pt x="0" y="223204"/>
                </a:lnTo>
                <a:close/>
              </a:path>
            </a:pathLst>
          </a:custGeom>
          <a:solidFill>
            <a:schemeClr val="accent2">
              <a:lumMod val="20000"/>
              <a:lumOff val="80000"/>
            </a:schemeClr>
          </a:solidFill>
          <a:ln>
            <a:solidFill>
              <a:schemeClr val="accent2">
                <a:lumMod val="20000"/>
                <a:lumOff val="8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41574" tIns="141574" rIns="141574" bIns="141574"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entury Gothic" panose="020F0302020204030204"/>
                <a:ea typeface="+mn-ea"/>
                <a:cs typeface="+mn-cs"/>
              </a:rPr>
              <a:t>Deliberately</a:t>
            </a:r>
          </a:p>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entury Gothic" panose="020F0302020204030204"/>
                <a:ea typeface="+mn-ea"/>
                <a:cs typeface="+mn-cs"/>
              </a:rPr>
              <a:t>practice</a:t>
            </a:r>
          </a:p>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entury Gothic" panose="020F0302020204030204"/>
                <a:ea typeface="+mn-ea"/>
                <a:cs typeface="+mn-cs"/>
              </a:rPr>
              <a:t>the new </a:t>
            </a:r>
          </a:p>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entury Gothic" panose="020F0302020204030204"/>
                <a:ea typeface="+mn-ea"/>
                <a:cs typeface="+mn-cs"/>
              </a:rPr>
              <a:t>behavior</a:t>
            </a:r>
          </a:p>
        </p:txBody>
      </p:sp>
      <p:sp>
        <p:nvSpPr>
          <p:cNvPr id="18" name="TextBox 17"/>
          <p:cNvSpPr txBox="1"/>
          <p:nvPr/>
        </p:nvSpPr>
        <p:spPr>
          <a:xfrm>
            <a:off x="1906992" y="5145706"/>
            <a:ext cx="2540000" cy="1015663"/>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entury Gothic" panose="020F0302020204030204"/>
                <a:ea typeface="+mn-ea"/>
                <a:cs typeface="+mn-cs"/>
              </a:rPr>
              <a:t>Constan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entury Gothic" panose="020F0302020204030204"/>
                <a:ea typeface="+mn-ea"/>
                <a:cs typeface="+mn-cs"/>
              </a:rPr>
              <a:t>practice &amp; repetition</a:t>
            </a:r>
          </a:p>
        </p:txBody>
      </p:sp>
      <p:sp>
        <p:nvSpPr>
          <p:cNvPr id="5" name="Freeform: Shape 4">
            <a:extLst>
              <a:ext uri="{FF2B5EF4-FFF2-40B4-BE49-F238E27FC236}">
                <a16:creationId xmlns:a16="http://schemas.microsoft.com/office/drawing/2014/main" id="{3DA2A5CC-8F8C-4699-9469-79C120CA3012}"/>
              </a:ext>
              <a:ext uri="{C183D7F6-B498-43B3-948B-1728B52AA6E4}">
                <adec:decorative xmlns:adec="http://schemas.microsoft.com/office/drawing/2017/decorative" val="1"/>
              </a:ext>
            </a:extLst>
          </p:cNvPr>
          <p:cNvSpPr/>
          <p:nvPr/>
        </p:nvSpPr>
        <p:spPr>
          <a:xfrm rot="21503">
            <a:off x="4630153" y="3198215"/>
            <a:ext cx="505942" cy="783244"/>
          </a:xfrm>
          <a:custGeom>
            <a:avLst/>
            <a:gdLst>
              <a:gd name="connsiteX0" fmla="*/ 0 w 505942"/>
              <a:gd name="connsiteY0" fmla="*/ 156649 h 783244"/>
              <a:gd name="connsiteX1" fmla="*/ 252971 w 505942"/>
              <a:gd name="connsiteY1" fmla="*/ 156649 h 783244"/>
              <a:gd name="connsiteX2" fmla="*/ 252971 w 505942"/>
              <a:gd name="connsiteY2" fmla="*/ 0 h 783244"/>
              <a:gd name="connsiteX3" fmla="*/ 505942 w 505942"/>
              <a:gd name="connsiteY3" fmla="*/ 391622 h 783244"/>
              <a:gd name="connsiteX4" fmla="*/ 252971 w 505942"/>
              <a:gd name="connsiteY4" fmla="*/ 783244 h 783244"/>
              <a:gd name="connsiteX5" fmla="*/ 252971 w 505942"/>
              <a:gd name="connsiteY5" fmla="*/ 626595 h 783244"/>
              <a:gd name="connsiteX6" fmla="*/ 0 w 505942"/>
              <a:gd name="connsiteY6" fmla="*/ 626595 h 783244"/>
              <a:gd name="connsiteX7" fmla="*/ 0 w 505942"/>
              <a:gd name="connsiteY7" fmla="*/ 156649 h 783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5942" h="783244">
                <a:moveTo>
                  <a:pt x="0" y="156649"/>
                </a:moveTo>
                <a:lnTo>
                  <a:pt x="252971" y="156649"/>
                </a:lnTo>
                <a:lnTo>
                  <a:pt x="252971" y="0"/>
                </a:lnTo>
                <a:lnTo>
                  <a:pt x="505942" y="391622"/>
                </a:lnTo>
                <a:lnTo>
                  <a:pt x="252971" y="783244"/>
                </a:lnTo>
                <a:lnTo>
                  <a:pt x="252971" y="626595"/>
                </a:lnTo>
                <a:lnTo>
                  <a:pt x="0" y="626595"/>
                </a:lnTo>
                <a:lnTo>
                  <a:pt x="0" y="156649"/>
                </a:lnTo>
                <a:close/>
              </a:path>
            </a:pathLst>
          </a:custGeom>
          <a:solidFill>
            <a:schemeClr val="tx1">
              <a:lumMod val="50000"/>
            </a:schemeClr>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156648" rIns="151783" bIns="156649" numCol="1" spcCol="1270" anchor="ctr" anchorCtr="0">
            <a:noAutofit/>
          </a:bodyPr>
          <a:lstStyle/>
          <a:p>
            <a:pPr marL="0" marR="0" lvl="0" indent="0" algn="ctr" defTabSz="1466850" rtl="0" eaLnBrk="1" fontAlgn="auto" latinLnBrk="0" hangingPunct="1">
              <a:lnSpc>
                <a:spcPct val="90000"/>
              </a:lnSpc>
              <a:spcBef>
                <a:spcPct val="0"/>
              </a:spcBef>
              <a:spcAft>
                <a:spcPct val="35000"/>
              </a:spcAft>
              <a:buClrTx/>
              <a:buSzTx/>
              <a:buFontTx/>
              <a:buNone/>
              <a:tabLst/>
              <a:defRPr/>
            </a:pPr>
            <a:endParaRPr kumimoji="0" lang="en-US" sz="33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pic>
        <p:nvPicPr>
          <p:cNvPr id="1032" name="Picture 8" descr="See Similar Images"/>
          <p:cNvPicPr>
            <a:picLocks noChangeAspect="1" noChangeArrowheads="1"/>
          </p:cNvPicPr>
          <p:nvPr/>
        </p:nvPicPr>
        <p:blipFill>
          <a:blip r:embed="rId3"/>
          <a:srcRect/>
          <a:stretch>
            <a:fillRect/>
          </a:stretch>
        </p:blipFill>
        <p:spPr bwMode="auto">
          <a:xfrm>
            <a:off x="5738616" y="1263872"/>
            <a:ext cx="1076098" cy="925990"/>
          </a:xfrm>
          <a:prstGeom prst="rect">
            <a:avLst/>
          </a:prstGeom>
          <a:noFill/>
        </p:spPr>
      </p:pic>
      <p:sp>
        <p:nvSpPr>
          <p:cNvPr id="6" name="Freeform: Shape 5">
            <a:extLst>
              <a:ext uri="{FF2B5EF4-FFF2-40B4-BE49-F238E27FC236}">
                <a16:creationId xmlns:a16="http://schemas.microsoft.com/office/drawing/2014/main" id="{15BE13F5-6610-4B2D-B086-E99675532689}"/>
              </a:ext>
            </a:extLst>
          </p:cNvPr>
          <p:cNvSpPr/>
          <p:nvPr/>
        </p:nvSpPr>
        <p:spPr>
          <a:xfrm>
            <a:off x="5247400" y="2836083"/>
            <a:ext cx="2058533" cy="1754059"/>
          </a:xfrm>
          <a:custGeom>
            <a:avLst/>
            <a:gdLst>
              <a:gd name="connsiteX0" fmla="*/ 0 w 2058533"/>
              <a:gd name="connsiteY0" fmla="*/ 175406 h 1754059"/>
              <a:gd name="connsiteX1" fmla="*/ 175406 w 2058533"/>
              <a:gd name="connsiteY1" fmla="*/ 0 h 1754059"/>
              <a:gd name="connsiteX2" fmla="*/ 1883127 w 2058533"/>
              <a:gd name="connsiteY2" fmla="*/ 0 h 1754059"/>
              <a:gd name="connsiteX3" fmla="*/ 2058533 w 2058533"/>
              <a:gd name="connsiteY3" fmla="*/ 175406 h 1754059"/>
              <a:gd name="connsiteX4" fmla="*/ 2058533 w 2058533"/>
              <a:gd name="connsiteY4" fmla="*/ 1578653 h 1754059"/>
              <a:gd name="connsiteX5" fmla="*/ 1883127 w 2058533"/>
              <a:gd name="connsiteY5" fmla="*/ 1754059 h 1754059"/>
              <a:gd name="connsiteX6" fmla="*/ 175406 w 2058533"/>
              <a:gd name="connsiteY6" fmla="*/ 1754059 h 1754059"/>
              <a:gd name="connsiteX7" fmla="*/ 0 w 2058533"/>
              <a:gd name="connsiteY7" fmla="*/ 1578653 h 1754059"/>
              <a:gd name="connsiteX8" fmla="*/ 0 w 2058533"/>
              <a:gd name="connsiteY8" fmla="*/ 175406 h 175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8533" h="1754059">
                <a:moveTo>
                  <a:pt x="0" y="175406"/>
                </a:moveTo>
                <a:cubicBezTo>
                  <a:pt x="0" y="78532"/>
                  <a:pt x="78532" y="0"/>
                  <a:pt x="175406" y="0"/>
                </a:cubicBezTo>
                <a:lnTo>
                  <a:pt x="1883127" y="0"/>
                </a:lnTo>
                <a:cubicBezTo>
                  <a:pt x="1980001" y="0"/>
                  <a:pt x="2058533" y="78532"/>
                  <a:pt x="2058533" y="175406"/>
                </a:cubicBezTo>
                <a:lnTo>
                  <a:pt x="2058533" y="1578653"/>
                </a:lnTo>
                <a:cubicBezTo>
                  <a:pt x="2058533" y="1675527"/>
                  <a:pt x="1980001" y="1754059"/>
                  <a:pt x="1883127" y="1754059"/>
                </a:cubicBezTo>
                <a:lnTo>
                  <a:pt x="175406" y="1754059"/>
                </a:lnTo>
                <a:cubicBezTo>
                  <a:pt x="78532" y="1754059"/>
                  <a:pt x="0" y="1675527"/>
                  <a:pt x="0" y="1578653"/>
                </a:cubicBezTo>
                <a:lnTo>
                  <a:pt x="0" y="175406"/>
                </a:lnTo>
                <a:close/>
              </a:path>
            </a:pathLst>
          </a:custGeom>
          <a:solidFill>
            <a:schemeClr val="accent2">
              <a:lumMod val="60000"/>
              <a:lumOff val="40000"/>
            </a:schemeClr>
          </a:solidFill>
          <a:ln>
            <a:solidFill>
              <a:schemeClr val="accent2">
                <a:lumMod val="60000"/>
                <a:lumOff val="4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27575" tIns="127575" rIns="127575" bIns="127575"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Century Gothic" panose="020F0302020204030204"/>
                <a:ea typeface="+mn-ea"/>
                <a:cs typeface="+mn-cs"/>
              </a:rPr>
              <a:t>Over time</a:t>
            </a:r>
          </a:p>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Century Gothic" panose="020F0302020204030204"/>
                <a:ea typeface="+mn-ea"/>
                <a:cs typeface="+mn-cs"/>
              </a:rPr>
              <a:t>this changes</a:t>
            </a:r>
          </a:p>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Century Gothic" panose="020F0302020204030204"/>
                <a:ea typeface="+mn-ea"/>
                <a:cs typeface="+mn-cs"/>
              </a:rPr>
              <a:t>peoples</a:t>
            </a:r>
          </a:p>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Century Gothic" panose="020F0302020204030204"/>
                <a:ea typeface="+mn-ea"/>
                <a:cs typeface="+mn-cs"/>
              </a:rPr>
              <a:t>mindsets</a:t>
            </a:r>
          </a:p>
        </p:txBody>
      </p:sp>
      <p:sp>
        <p:nvSpPr>
          <p:cNvPr id="19" name="TextBox 18"/>
          <p:cNvSpPr txBox="1"/>
          <p:nvPr/>
        </p:nvSpPr>
        <p:spPr>
          <a:xfrm>
            <a:off x="5164022" y="5145705"/>
            <a:ext cx="2225289" cy="707886"/>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entury Gothic" panose="020F0302020204030204"/>
                <a:ea typeface="+mn-ea"/>
                <a:cs typeface="+mn-cs"/>
              </a:rPr>
              <a:t>Forms &amp; solidifie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entury Gothic" panose="020F0302020204030204"/>
                <a:ea typeface="+mn-ea"/>
                <a:cs typeface="+mn-cs"/>
              </a:rPr>
              <a:t>new habits</a:t>
            </a:r>
          </a:p>
        </p:txBody>
      </p:sp>
      <p:sp>
        <p:nvSpPr>
          <p:cNvPr id="17" name="Freeform: Shape 16">
            <a:extLst>
              <a:ext uri="{FF2B5EF4-FFF2-40B4-BE49-F238E27FC236}">
                <a16:creationId xmlns:a16="http://schemas.microsoft.com/office/drawing/2014/main" id="{3FA827C3-E502-4415-9415-DF1F1B5E31EB}"/>
              </a:ext>
              <a:ext uri="{C183D7F6-B498-43B3-948B-1728B52AA6E4}">
                <adec:decorative xmlns:adec="http://schemas.microsoft.com/office/drawing/2017/decorative" val="1"/>
              </a:ext>
            </a:extLst>
          </p:cNvPr>
          <p:cNvSpPr/>
          <p:nvPr/>
        </p:nvSpPr>
        <p:spPr>
          <a:xfrm rot="21503">
            <a:off x="7499229" y="3196655"/>
            <a:ext cx="505942" cy="783244"/>
          </a:xfrm>
          <a:custGeom>
            <a:avLst/>
            <a:gdLst>
              <a:gd name="connsiteX0" fmla="*/ 0 w 505942"/>
              <a:gd name="connsiteY0" fmla="*/ 156649 h 783244"/>
              <a:gd name="connsiteX1" fmla="*/ 252971 w 505942"/>
              <a:gd name="connsiteY1" fmla="*/ 156649 h 783244"/>
              <a:gd name="connsiteX2" fmla="*/ 252971 w 505942"/>
              <a:gd name="connsiteY2" fmla="*/ 0 h 783244"/>
              <a:gd name="connsiteX3" fmla="*/ 505942 w 505942"/>
              <a:gd name="connsiteY3" fmla="*/ 391622 h 783244"/>
              <a:gd name="connsiteX4" fmla="*/ 252971 w 505942"/>
              <a:gd name="connsiteY4" fmla="*/ 783244 h 783244"/>
              <a:gd name="connsiteX5" fmla="*/ 252971 w 505942"/>
              <a:gd name="connsiteY5" fmla="*/ 626595 h 783244"/>
              <a:gd name="connsiteX6" fmla="*/ 0 w 505942"/>
              <a:gd name="connsiteY6" fmla="*/ 626595 h 783244"/>
              <a:gd name="connsiteX7" fmla="*/ 0 w 505942"/>
              <a:gd name="connsiteY7" fmla="*/ 156649 h 783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5942" h="783244">
                <a:moveTo>
                  <a:pt x="0" y="156649"/>
                </a:moveTo>
                <a:lnTo>
                  <a:pt x="252971" y="156649"/>
                </a:lnTo>
                <a:lnTo>
                  <a:pt x="252971" y="0"/>
                </a:lnTo>
                <a:lnTo>
                  <a:pt x="505942" y="391622"/>
                </a:lnTo>
                <a:lnTo>
                  <a:pt x="252971" y="783244"/>
                </a:lnTo>
                <a:lnTo>
                  <a:pt x="252971" y="626595"/>
                </a:lnTo>
                <a:lnTo>
                  <a:pt x="0" y="626595"/>
                </a:lnTo>
                <a:lnTo>
                  <a:pt x="0" y="156649"/>
                </a:lnTo>
                <a:close/>
              </a:path>
            </a:pathLst>
          </a:custGeom>
          <a:solidFill>
            <a:schemeClr val="tx1">
              <a:lumMod val="50000"/>
            </a:schemeClr>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156648" rIns="151783" bIns="156649" numCol="1" spcCol="1270" anchor="ctr" anchorCtr="0">
            <a:noAutofit/>
          </a:bodyPr>
          <a:lstStyle/>
          <a:p>
            <a:pPr marL="0" marR="0" lvl="0" indent="0" algn="ctr" defTabSz="1466850" rtl="0" eaLnBrk="1" fontAlgn="auto" latinLnBrk="0" hangingPunct="1">
              <a:lnSpc>
                <a:spcPct val="90000"/>
              </a:lnSpc>
              <a:spcBef>
                <a:spcPct val="0"/>
              </a:spcBef>
              <a:spcAft>
                <a:spcPct val="35000"/>
              </a:spcAft>
              <a:buClrTx/>
              <a:buSzTx/>
              <a:buFontTx/>
              <a:buNone/>
              <a:tabLst/>
              <a:defRPr/>
            </a:pPr>
            <a:endParaRPr kumimoji="0" lang="en-US" sz="33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pic>
        <p:nvPicPr>
          <p:cNvPr id="1034" name="Picture 10" descr="See Similar Images"/>
          <p:cNvPicPr>
            <a:picLocks noChangeAspect="1" noChangeArrowheads="1"/>
          </p:cNvPicPr>
          <p:nvPr/>
        </p:nvPicPr>
        <p:blipFill>
          <a:blip r:embed="rId4"/>
          <a:srcRect/>
          <a:stretch>
            <a:fillRect/>
          </a:stretch>
        </p:blipFill>
        <p:spPr bwMode="auto">
          <a:xfrm>
            <a:off x="8580170" y="1177139"/>
            <a:ext cx="1099458" cy="1099459"/>
          </a:xfrm>
          <a:prstGeom prst="rect">
            <a:avLst/>
          </a:prstGeom>
          <a:noFill/>
        </p:spPr>
      </p:pic>
      <p:sp>
        <p:nvSpPr>
          <p:cNvPr id="8" name="Freeform: Shape 7">
            <a:extLst>
              <a:ext uri="{FF2B5EF4-FFF2-40B4-BE49-F238E27FC236}">
                <a16:creationId xmlns:a16="http://schemas.microsoft.com/office/drawing/2014/main" id="{7E853521-E47F-433A-A93B-31A76C4EB2A4}"/>
              </a:ext>
            </a:extLst>
          </p:cNvPr>
          <p:cNvSpPr/>
          <p:nvPr/>
        </p:nvSpPr>
        <p:spPr>
          <a:xfrm>
            <a:off x="8100634" y="2354836"/>
            <a:ext cx="2058533" cy="2716553"/>
          </a:xfrm>
          <a:custGeom>
            <a:avLst/>
            <a:gdLst>
              <a:gd name="connsiteX0" fmla="*/ 0 w 2058533"/>
              <a:gd name="connsiteY0" fmla="*/ 205853 h 2716553"/>
              <a:gd name="connsiteX1" fmla="*/ 205853 w 2058533"/>
              <a:gd name="connsiteY1" fmla="*/ 0 h 2716553"/>
              <a:gd name="connsiteX2" fmla="*/ 1852680 w 2058533"/>
              <a:gd name="connsiteY2" fmla="*/ 0 h 2716553"/>
              <a:gd name="connsiteX3" fmla="*/ 2058533 w 2058533"/>
              <a:gd name="connsiteY3" fmla="*/ 205853 h 2716553"/>
              <a:gd name="connsiteX4" fmla="*/ 2058533 w 2058533"/>
              <a:gd name="connsiteY4" fmla="*/ 2510700 h 2716553"/>
              <a:gd name="connsiteX5" fmla="*/ 1852680 w 2058533"/>
              <a:gd name="connsiteY5" fmla="*/ 2716553 h 2716553"/>
              <a:gd name="connsiteX6" fmla="*/ 205853 w 2058533"/>
              <a:gd name="connsiteY6" fmla="*/ 2716553 h 2716553"/>
              <a:gd name="connsiteX7" fmla="*/ 0 w 2058533"/>
              <a:gd name="connsiteY7" fmla="*/ 2510700 h 2716553"/>
              <a:gd name="connsiteX8" fmla="*/ 0 w 2058533"/>
              <a:gd name="connsiteY8" fmla="*/ 205853 h 2716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8533" h="2716553">
                <a:moveTo>
                  <a:pt x="0" y="205853"/>
                </a:moveTo>
                <a:cubicBezTo>
                  <a:pt x="0" y="92164"/>
                  <a:pt x="92164" y="0"/>
                  <a:pt x="205853" y="0"/>
                </a:cubicBezTo>
                <a:lnTo>
                  <a:pt x="1852680" y="0"/>
                </a:lnTo>
                <a:cubicBezTo>
                  <a:pt x="1966369" y="0"/>
                  <a:pt x="2058533" y="92164"/>
                  <a:pt x="2058533" y="205853"/>
                </a:cubicBezTo>
                <a:lnTo>
                  <a:pt x="2058533" y="2510700"/>
                </a:lnTo>
                <a:cubicBezTo>
                  <a:pt x="2058533" y="2624389"/>
                  <a:pt x="1966369" y="2716553"/>
                  <a:pt x="1852680" y="2716553"/>
                </a:cubicBezTo>
                <a:lnTo>
                  <a:pt x="205853" y="2716553"/>
                </a:lnTo>
                <a:cubicBezTo>
                  <a:pt x="92164" y="2716553"/>
                  <a:pt x="0" y="2624389"/>
                  <a:pt x="0" y="2510700"/>
                </a:cubicBezTo>
                <a:lnTo>
                  <a:pt x="0" y="205853"/>
                </a:lnTo>
                <a:close/>
              </a:path>
            </a:pathLst>
          </a:custGeom>
          <a:solidFill>
            <a:schemeClr val="tx1">
              <a:lumMod val="50000"/>
            </a:schemeClr>
          </a:solidFill>
          <a:ln>
            <a:solidFill>
              <a:schemeClr val="tx1">
                <a:lumMod val="5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36492" tIns="136492" rIns="136492" bIns="136492" numCol="1" spcCol="1270" anchor="ctr" anchorCtr="0">
            <a:noAutofit/>
          </a:bodyPr>
          <a:lstStyle/>
          <a:p>
            <a:pPr marL="0" marR="0" lvl="0" indent="0" algn="ctr" defTabSz="889000" rtl="0" eaLnBrk="1" fontAlgn="auto" latinLnBrk="0" hangingPunct="1">
              <a:lnSpc>
                <a:spcPct val="90000"/>
              </a:lnSpc>
              <a:spcBef>
                <a:spcPct val="0"/>
              </a:spcBef>
              <a:spcAft>
                <a:spcPts val="600"/>
              </a:spcAft>
              <a:buClrTx/>
              <a:buSzTx/>
              <a:buFontTx/>
              <a:buNone/>
              <a:tabLst/>
              <a:defRPr/>
            </a:pPr>
            <a:r>
              <a:rPr kumimoji="0" lang="en-US" sz="2000" b="1" i="0" u="none" strike="noStrike" kern="1200" cap="none" spc="0" normalizeH="0" baseline="0" noProof="0" dirty="0">
                <a:ln>
                  <a:noFill/>
                </a:ln>
                <a:solidFill>
                  <a:srgbClr val="B7C9D3"/>
                </a:solidFill>
                <a:effectLst/>
                <a:uLnTx/>
                <a:uFillTx/>
                <a:latin typeface="Century Gothic" panose="020F0302020204030204"/>
                <a:ea typeface="+mn-ea"/>
                <a:cs typeface="+mn-cs"/>
              </a:rPr>
              <a:t>In the long term this</a:t>
            </a:r>
          </a:p>
          <a:p>
            <a:pPr marL="0" marR="0" lvl="0" indent="0" algn="ctr" defTabSz="889000" rtl="0" eaLnBrk="1" fontAlgn="auto" latinLnBrk="0" hangingPunct="1">
              <a:lnSpc>
                <a:spcPct val="90000"/>
              </a:lnSpc>
              <a:spcBef>
                <a:spcPct val="0"/>
              </a:spcBef>
              <a:spcAft>
                <a:spcPts val="600"/>
              </a:spcAft>
              <a:buClrTx/>
              <a:buSzTx/>
              <a:buFontTx/>
              <a:buNone/>
              <a:tabLst/>
              <a:defRPr/>
            </a:pPr>
            <a:r>
              <a:rPr kumimoji="0" lang="en-US" sz="2000" b="1" i="0" u="none" strike="noStrike" kern="1200" cap="none" spc="0" normalizeH="0" baseline="0" noProof="0" dirty="0">
                <a:ln>
                  <a:noFill/>
                </a:ln>
                <a:solidFill>
                  <a:srgbClr val="B7C9D3"/>
                </a:solidFill>
                <a:effectLst/>
                <a:uLnTx/>
                <a:uFillTx/>
                <a:latin typeface="Century Gothic" panose="020F0302020204030204"/>
                <a:ea typeface="+mn-ea"/>
                <a:cs typeface="+mn-cs"/>
              </a:rPr>
              <a:t>builds the</a:t>
            </a:r>
          </a:p>
          <a:p>
            <a:pPr marL="0" marR="0" lvl="0" indent="0" algn="ctr" defTabSz="889000" rtl="0" eaLnBrk="1" fontAlgn="auto" latinLnBrk="0" hangingPunct="1">
              <a:lnSpc>
                <a:spcPct val="90000"/>
              </a:lnSpc>
              <a:spcBef>
                <a:spcPct val="0"/>
              </a:spcBef>
              <a:spcAft>
                <a:spcPts val="600"/>
              </a:spcAft>
              <a:buClrTx/>
              <a:buSzTx/>
              <a:buFontTx/>
              <a:buNone/>
              <a:tabLst/>
              <a:defRPr/>
            </a:pPr>
            <a:r>
              <a:rPr kumimoji="0" lang="en-US" sz="2000" b="1" i="0" u="none" strike="noStrike" kern="1200" cap="none" spc="0" normalizeH="0" baseline="0" noProof="0" dirty="0">
                <a:ln>
                  <a:noFill/>
                </a:ln>
                <a:solidFill>
                  <a:srgbClr val="B7C9D3"/>
                </a:solidFill>
                <a:effectLst/>
                <a:uLnTx/>
                <a:uFillTx/>
                <a:latin typeface="Century Gothic" panose="020F0302020204030204"/>
                <a:ea typeface="+mn-ea"/>
                <a:cs typeface="+mn-cs"/>
              </a:rPr>
              <a:t>organizations culture &amp; ability to compete at the highest levels</a:t>
            </a:r>
          </a:p>
        </p:txBody>
      </p:sp>
      <p:sp>
        <p:nvSpPr>
          <p:cNvPr id="12" name="TextBox 11">
            <a:extLst>
              <a:ext uri="{FF2B5EF4-FFF2-40B4-BE49-F238E27FC236}">
                <a16:creationId xmlns:a16="http://schemas.microsoft.com/office/drawing/2014/main" id="{EE41CAD0-67D9-4F76-A4CC-23499BD2EA87}"/>
              </a:ext>
            </a:extLst>
          </p:cNvPr>
          <p:cNvSpPr txBox="1"/>
          <p:nvPr/>
        </p:nvSpPr>
        <p:spPr>
          <a:xfrm>
            <a:off x="8055331" y="5145706"/>
            <a:ext cx="2149136" cy="132343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entury Gothic" panose="020F0302020204030204"/>
                <a:ea typeface="+mn-ea"/>
                <a:cs typeface="+mn-cs"/>
              </a:rPr>
              <a:t>The new norms must deliver measurable results </a:t>
            </a:r>
          </a:p>
        </p:txBody>
      </p:sp>
      <p:sp>
        <p:nvSpPr>
          <p:cNvPr id="11" name="Slide Number Placeholder 6"/>
          <p:cNvSpPr txBox="1">
            <a:spLocks/>
          </p:cNvSpPr>
          <p:nvPr/>
        </p:nvSpPr>
        <p:spPr>
          <a:xfrm>
            <a:off x="8439600" y="6574725"/>
            <a:ext cx="2133600" cy="247650"/>
          </a:xfrm>
          <a:prstGeom prst="rect">
            <a:avLst/>
          </a:prstGeom>
          <a:noFill/>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7D82C70E-5694-462E-BB82-8F978EF4D1FB}" type="slidenum">
              <a:rPr kumimoji="0" lang="en-US" sz="1400" b="1" i="0" u="none" strike="noStrike" kern="1200" cap="none" spc="0" normalizeH="0" baseline="0" noProof="0">
                <a:ln>
                  <a:noFill/>
                </a:ln>
                <a:solidFill>
                  <a:srgbClr val="FFFFFF"/>
                </a:solidFill>
                <a:effectLst/>
                <a:uLnTx/>
                <a:uFillTx/>
                <a:latin typeface="Arial" pitchFamily="34"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7</a:t>
            </a:fld>
            <a:endParaRPr kumimoji="0" lang="en-US" sz="1400" b="1" i="0" u="none" strike="noStrike" kern="1200" cap="none" spc="0" normalizeH="0" baseline="0" noProof="0" dirty="0">
              <a:ln>
                <a:noFill/>
              </a:ln>
              <a:solidFill>
                <a:srgbClr val="FFFFFF"/>
              </a:solidFill>
              <a:effectLst/>
              <a:uLnTx/>
              <a:uFillTx/>
              <a:latin typeface="Arial" pitchFamily="34" charset="0"/>
              <a:ea typeface="+mn-ea"/>
              <a:cs typeface="+mn-cs"/>
            </a:endParaRPr>
          </a:p>
        </p:txBody>
      </p:sp>
    </p:spTree>
    <p:extLst>
      <p:ext uri="{BB962C8B-B14F-4D97-AF65-F5344CB8AC3E}">
        <p14:creationId xmlns:p14="http://schemas.microsoft.com/office/powerpoint/2010/main" val="3332714091"/>
      </p:ext>
    </p:extLst>
  </p:cSld>
  <p:clrMapOvr>
    <a:masterClrMapping/>
  </p:clrMapOvr>
  <p:transition>
    <p:cove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03A32B97-FC58-4D60-BCC7-140E3C052161}"/>
              </a:ext>
            </a:extLst>
          </p:cNvPr>
          <p:cNvSpPr>
            <a:spLocks noGrp="1"/>
          </p:cNvSpPr>
          <p:nvPr>
            <p:ph type="title"/>
          </p:nvPr>
        </p:nvSpPr>
        <p:spPr/>
        <p:txBody>
          <a:bodyPr/>
          <a:lstStyle/>
          <a:p>
            <a:r>
              <a:rPr lang="en-US" dirty="0">
                <a:solidFill>
                  <a:schemeClr val="bg1"/>
                </a:solidFill>
              </a:rPr>
              <a:t>You don’t change your mindset then have a new behavior </a:t>
            </a:r>
          </a:p>
        </p:txBody>
      </p:sp>
      <p:sp>
        <p:nvSpPr>
          <p:cNvPr id="4" name="Rectangle 3">
            <a:extLst>
              <a:ext uri="{FF2B5EF4-FFF2-40B4-BE49-F238E27FC236}">
                <a16:creationId xmlns:a16="http://schemas.microsoft.com/office/drawing/2014/main" id="{184991AB-B97A-43DE-AFF3-CEA6E48C4DF1}"/>
              </a:ext>
              <a:ext uri="{C183D7F6-B498-43B3-948B-1728B52AA6E4}">
                <adec:decorative xmlns:adec="http://schemas.microsoft.com/office/drawing/2017/decorative" val="1"/>
              </a:ext>
            </a:extLst>
          </p:cNvPr>
          <p:cNvSpPr/>
          <p:nvPr/>
        </p:nvSpPr>
        <p:spPr>
          <a:xfrm>
            <a:off x="2452914" y="959557"/>
            <a:ext cx="7170057" cy="4632073"/>
          </a:xfrm>
          <a:prstGeom prst="rect">
            <a:avLst/>
          </a:prstGeom>
          <a:noFill/>
        </p:spPr>
      </p:sp>
      <p:grpSp>
        <p:nvGrpSpPr>
          <p:cNvPr id="8" name="Group 7" descr="You don't change your mindset then have a new behavior.&#10;but if&#10;You practice a new behavior, over time that changes your mindset...">
            <a:extLst>
              <a:ext uri="{FF2B5EF4-FFF2-40B4-BE49-F238E27FC236}">
                <a16:creationId xmlns:a16="http://schemas.microsoft.com/office/drawing/2014/main" id="{56C9CE1E-A57E-4172-9FDA-F1C7AF1D4760}"/>
              </a:ext>
            </a:extLst>
          </p:cNvPr>
          <p:cNvGrpSpPr/>
          <p:nvPr/>
        </p:nvGrpSpPr>
        <p:grpSpPr>
          <a:xfrm>
            <a:off x="2510973" y="971483"/>
            <a:ext cx="7170057" cy="4630941"/>
            <a:chOff x="928913" y="960121"/>
            <a:chExt cx="7170057" cy="4630941"/>
          </a:xfrm>
        </p:grpSpPr>
        <p:sp>
          <p:nvSpPr>
            <p:cNvPr id="5" name="Freeform: Shape 4">
              <a:extLst>
                <a:ext uri="{FF2B5EF4-FFF2-40B4-BE49-F238E27FC236}">
                  <a16:creationId xmlns:a16="http://schemas.microsoft.com/office/drawing/2014/main" id="{C9E572A0-41DB-4353-A016-DD69DB61F4E8}"/>
                </a:ext>
              </a:extLst>
            </p:cNvPr>
            <p:cNvSpPr/>
            <p:nvPr/>
          </p:nvSpPr>
          <p:spPr>
            <a:xfrm>
              <a:off x="928913" y="960121"/>
              <a:ext cx="7170057" cy="1852376"/>
            </a:xfrm>
            <a:custGeom>
              <a:avLst/>
              <a:gdLst>
                <a:gd name="connsiteX0" fmla="*/ 0 w 7170057"/>
                <a:gd name="connsiteY0" fmla="*/ 185238 h 1852376"/>
                <a:gd name="connsiteX1" fmla="*/ 185238 w 7170057"/>
                <a:gd name="connsiteY1" fmla="*/ 0 h 1852376"/>
                <a:gd name="connsiteX2" fmla="*/ 6984819 w 7170057"/>
                <a:gd name="connsiteY2" fmla="*/ 0 h 1852376"/>
                <a:gd name="connsiteX3" fmla="*/ 7170057 w 7170057"/>
                <a:gd name="connsiteY3" fmla="*/ 185238 h 1852376"/>
                <a:gd name="connsiteX4" fmla="*/ 7170057 w 7170057"/>
                <a:gd name="connsiteY4" fmla="*/ 1667138 h 1852376"/>
                <a:gd name="connsiteX5" fmla="*/ 6984819 w 7170057"/>
                <a:gd name="connsiteY5" fmla="*/ 1852376 h 1852376"/>
                <a:gd name="connsiteX6" fmla="*/ 185238 w 7170057"/>
                <a:gd name="connsiteY6" fmla="*/ 1852376 h 1852376"/>
                <a:gd name="connsiteX7" fmla="*/ 0 w 7170057"/>
                <a:gd name="connsiteY7" fmla="*/ 1667138 h 1852376"/>
                <a:gd name="connsiteX8" fmla="*/ 0 w 7170057"/>
                <a:gd name="connsiteY8" fmla="*/ 185238 h 1852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0057" h="1852376">
                  <a:moveTo>
                    <a:pt x="0" y="185238"/>
                  </a:moveTo>
                  <a:cubicBezTo>
                    <a:pt x="0" y="82934"/>
                    <a:pt x="82934" y="0"/>
                    <a:pt x="185238" y="0"/>
                  </a:cubicBezTo>
                  <a:lnTo>
                    <a:pt x="6984819" y="0"/>
                  </a:lnTo>
                  <a:cubicBezTo>
                    <a:pt x="7087123" y="0"/>
                    <a:pt x="7170057" y="82934"/>
                    <a:pt x="7170057" y="185238"/>
                  </a:cubicBezTo>
                  <a:lnTo>
                    <a:pt x="7170057" y="1667138"/>
                  </a:lnTo>
                  <a:cubicBezTo>
                    <a:pt x="7170057" y="1769442"/>
                    <a:pt x="7087123" y="1852376"/>
                    <a:pt x="6984819" y="1852376"/>
                  </a:cubicBezTo>
                  <a:lnTo>
                    <a:pt x="185238" y="1852376"/>
                  </a:lnTo>
                  <a:cubicBezTo>
                    <a:pt x="82934" y="1852376"/>
                    <a:pt x="0" y="1769442"/>
                    <a:pt x="0" y="1667138"/>
                  </a:cubicBezTo>
                  <a:lnTo>
                    <a:pt x="0" y="185238"/>
                  </a:lnTo>
                  <a:close/>
                </a:path>
              </a:pathLst>
            </a:custGeom>
            <a:solidFill>
              <a:srgbClr val="0070C0"/>
            </a:solidFill>
            <a:ln w="12700">
              <a:solidFill>
                <a:srgbClr val="298FC2"/>
              </a:solidFill>
            </a:ln>
            <a:effectLst/>
          </p:spPr>
          <p:style>
            <a:lnRef idx="2">
              <a:scrgbClr r="0" g="0" b="0"/>
            </a:lnRef>
            <a:fillRef idx="1">
              <a:scrgbClr r="0" g="0" b="0"/>
            </a:fillRef>
            <a:effectRef idx="0">
              <a:scrgbClr r="0" g="0" b="0"/>
            </a:effectRef>
            <a:fontRef idx="minor">
              <a:schemeClr val="lt1"/>
            </a:fontRef>
          </p:style>
          <p:txBody>
            <a:bodyPr rot="0" spcFirstLastPara="0" vert="horz" wrap="square" lIns="122834" tIns="88544" rIns="122834" bIns="88544" numCol="1" spcCol="127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35000"/>
                </a:spcAft>
                <a:buClrTx/>
                <a:buSzTx/>
                <a:buFontTx/>
                <a:buNone/>
                <a:tabLst/>
                <a:defRPr/>
              </a:pPr>
              <a:r>
                <a:rPr kumimoji="0" lang="en-US" sz="2800" b="1" i="0" u="none" strike="noStrike" kern="0" cap="none" spc="0" normalizeH="0" baseline="0" noProof="0" dirty="0">
                  <a:ln>
                    <a:noFill/>
                  </a:ln>
                  <a:solidFill>
                    <a:srgbClr val="FFFFFF"/>
                  </a:solidFill>
                  <a:effectLst/>
                  <a:uLnTx/>
                  <a:uFillTx/>
                  <a:latin typeface="Calibri"/>
                  <a:ea typeface="+mn-ea"/>
                  <a:cs typeface="+mn-cs"/>
                </a:rPr>
                <a:t>You don’t change your mindset </a:t>
              </a:r>
            </a:p>
            <a:p>
              <a:pPr marL="0" marR="0" lvl="0" indent="0" algn="ctr" defTabSz="914400" rtl="0" eaLnBrk="1" fontAlgn="auto" latinLnBrk="0" hangingPunct="1">
                <a:lnSpc>
                  <a:spcPct val="90000"/>
                </a:lnSpc>
                <a:spcBef>
                  <a:spcPct val="0"/>
                </a:spcBef>
                <a:spcAft>
                  <a:spcPct val="35000"/>
                </a:spcAft>
                <a:buClrTx/>
                <a:buSzTx/>
                <a:buFontTx/>
                <a:buNone/>
                <a:tabLst/>
                <a:defRPr/>
              </a:pPr>
              <a:r>
                <a:rPr kumimoji="0" lang="en-US" sz="2800" b="1" i="0" u="none" strike="noStrike" kern="0" cap="none" spc="0" normalizeH="0" baseline="0" noProof="0" dirty="0">
                  <a:ln>
                    <a:noFill/>
                  </a:ln>
                  <a:solidFill>
                    <a:srgbClr val="FFFFFF"/>
                  </a:solidFill>
                  <a:effectLst/>
                  <a:uLnTx/>
                  <a:uFillTx/>
                  <a:latin typeface="Calibri"/>
                  <a:ea typeface="+mn-ea"/>
                  <a:cs typeface="+mn-cs"/>
                </a:rPr>
                <a:t>then have a new behavior</a:t>
              </a:r>
            </a:p>
          </p:txBody>
        </p:sp>
        <p:sp>
          <p:nvSpPr>
            <p:cNvPr id="6" name="Freeform: Shape 5">
              <a:extLst>
                <a:ext uri="{FF2B5EF4-FFF2-40B4-BE49-F238E27FC236}">
                  <a16:creationId xmlns:a16="http://schemas.microsoft.com/office/drawing/2014/main" id="{0000FB34-1015-4F2D-8BB9-27D3726BA705}"/>
                </a:ext>
              </a:extLst>
            </p:cNvPr>
            <p:cNvSpPr/>
            <p:nvPr/>
          </p:nvSpPr>
          <p:spPr>
            <a:xfrm>
              <a:off x="4097156" y="2928271"/>
              <a:ext cx="833569" cy="694641"/>
            </a:xfrm>
            <a:custGeom>
              <a:avLst/>
              <a:gdLst>
                <a:gd name="connsiteX0" fmla="*/ 0 w 694641"/>
                <a:gd name="connsiteY0" fmla="*/ 166714 h 833569"/>
                <a:gd name="connsiteX1" fmla="*/ 347321 w 694641"/>
                <a:gd name="connsiteY1" fmla="*/ 166714 h 833569"/>
                <a:gd name="connsiteX2" fmla="*/ 347321 w 694641"/>
                <a:gd name="connsiteY2" fmla="*/ 0 h 833569"/>
                <a:gd name="connsiteX3" fmla="*/ 694641 w 694641"/>
                <a:gd name="connsiteY3" fmla="*/ 416785 h 833569"/>
                <a:gd name="connsiteX4" fmla="*/ 347321 w 694641"/>
                <a:gd name="connsiteY4" fmla="*/ 833569 h 833569"/>
                <a:gd name="connsiteX5" fmla="*/ 347321 w 694641"/>
                <a:gd name="connsiteY5" fmla="*/ 666855 h 833569"/>
                <a:gd name="connsiteX6" fmla="*/ 0 w 694641"/>
                <a:gd name="connsiteY6" fmla="*/ 666855 h 833569"/>
                <a:gd name="connsiteX7" fmla="*/ 0 w 694641"/>
                <a:gd name="connsiteY7" fmla="*/ 166714 h 833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4641" h="833569">
                  <a:moveTo>
                    <a:pt x="555713" y="0"/>
                  </a:moveTo>
                  <a:lnTo>
                    <a:pt x="555713" y="416785"/>
                  </a:lnTo>
                  <a:lnTo>
                    <a:pt x="694641" y="416785"/>
                  </a:lnTo>
                  <a:lnTo>
                    <a:pt x="347320" y="833569"/>
                  </a:lnTo>
                  <a:lnTo>
                    <a:pt x="0" y="416785"/>
                  </a:lnTo>
                  <a:lnTo>
                    <a:pt x="138928" y="416785"/>
                  </a:lnTo>
                  <a:lnTo>
                    <a:pt x="138928" y="0"/>
                  </a:lnTo>
                  <a:lnTo>
                    <a:pt x="555713" y="0"/>
                  </a:lnTo>
                  <a:close/>
                </a:path>
              </a:pathLst>
            </a:custGeom>
            <a:solidFill>
              <a:srgbClr val="0070C0"/>
            </a:solidFill>
            <a:ln w="12700">
              <a:solidFill>
                <a:srgbClr val="298FC2"/>
              </a:solidFill>
            </a:ln>
            <a:effectLst/>
          </p:spPr>
          <p:style>
            <a:lnRef idx="2">
              <a:scrgbClr r="0" g="0" b="0"/>
            </a:lnRef>
            <a:fillRef idx="1">
              <a:scrgbClr r="0" g="0" b="0"/>
            </a:fillRef>
            <a:effectRef idx="0">
              <a:scrgbClr r="0" g="0" b="0"/>
            </a:effectRef>
            <a:fontRef idx="minor">
              <a:schemeClr val="lt1"/>
            </a:fontRef>
          </p:style>
          <p:txBody>
            <a:bodyPr rot="0" spcFirstLastPara="0" vert="horz" wrap="square" lIns="122834" tIns="88544" rIns="122834" bIns="88544" numCol="1" spcCol="127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35000"/>
                </a:spcAft>
                <a:buClrTx/>
                <a:buSzTx/>
                <a:buFontTx/>
                <a:buNone/>
                <a:tabLst/>
                <a:defRPr/>
              </a:pPr>
              <a:endParaRPr kumimoji="0" lang="en-US" sz="2800" b="1" i="0" u="none" strike="noStrike" kern="0" cap="none" spc="0" normalizeH="0" baseline="0" noProof="0">
                <a:ln>
                  <a:noFill/>
                </a:ln>
                <a:solidFill>
                  <a:srgbClr val="FFFFFF"/>
                </a:solidFill>
                <a:effectLst/>
                <a:uLnTx/>
                <a:uFillTx/>
                <a:latin typeface="Calibri"/>
                <a:ea typeface="+mn-ea"/>
                <a:cs typeface="+mn-cs"/>
              </a:endParaRPr>
            </a:p>
          </p:txBody>
        </p:sp>
        <p:sp>
          <p:nvSpPr>
            <p:cNvPr id="7" name="Freeform: Shape 6">
              <a:extLst>
                <a:ext uri="{FF2B5EF4-FFF2-40B4-BE49-F238E27FC236}">
                  <a16:creationId xmlns:a16="http://schemas.microsoft.com/office/drawing/2014/main" id="{6D6F9D9F-2507-49DB-8E2E-E5107BA7056E}"/>
                </a:ext>
              </a:extLst>
            </p:cNvPr>
            <p:cNvSpPr/>
            <p:nvPr/>
          </p:nvSpPr>
          <p:spPr>
            <a:xfrm>
              <a:off x="976714" y="3738686"/>
              <a:ext cx="7074453" cy="1852376"/>
            </a:xfrm>
            <a:custGeom>
              <a:avLst/>
              <a:gdLst>
                <a:gd name="connsiteX0" fmla="*/ 0 w 7074453"/>
                <a:gd name="connsiteY0" fmla="*/ 185238 h 1852376"/>
                <a:gd name="connsiteX1" fmla="*/ 185238 w 7074453"/>
                <a:gd name="connsiteY1" fmla="*/ 0 h 1852376"/>
                <a:gd name="connsiteX2" fmla="*/ 6889215 w 7074453"/>
                <a:gd name="connsiteY2" fmla="*/ 0 h 1852376"/>
                <a:gd name="connsiteX3" fmla="*/ 7074453 w 7074453"/>
                <a:gd name="connsiteY3" fmla="*/ 185238 h 1852376"/>
                <a:gd name="connsiteX4" fmla="*/ 7074453 w 7074453"/>
                <a:gd name="connsiteY4" fmla="*/ 1667138 h 1852376"/>
                <a:gd name="connsiteX5" fmla="*/ 6889215 w 7074453"/>
                <a:gd name="connsiteY5" fmla="*/ 1852376 h 1852376"/>
                <a:gd name="connsiteX6" fmla="*/ 185238 w 7074453"/>
                <a:gd name="connsiteY6" fmla="*/ 1852376 h 1852376"/>
                <a:gd name="connsiteX7" fmla="*/ 0 w 7074453"/>
                <a:gd name="connsiteY7" fmla="*/ 1667138 h 1852376"/>
                <a:gd name="connsiteX8" fmla="*/ 0 w 7074453"/>
                <a:gd name="connsiteY8" fmla="*/ 185238 h 1852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74453" h="1852376">
                  <a:moveTo>
                    <a:pt x="0" y="185238"/>
                  </a:moveTo>
                  <a:cubicBezTo>
                    <a:pt x="0" y="82934"/>
                    <a:pt x="82934" y="0"/>
                    <a:pt x="185238" y="0"/>
                  </a:cubicBezTo>
                  <a:lnTo>
                    <a:pt x="6889215" y="0"/>
                  </a:lnTo>
                  <a:cubicBezTo>
                    <a:pt x="6991519" y="0"/>
                    <a:pt x="7074453" y="82934"/>
                    <a:pt x="7074453" y="185238"/>
                  </a:cubicBezTo>
                  <a:lnTo>
                    <a:pt x="7074453" y="1667138"/>
                  </a:lnTo>
                  <a:cubicBezTo>
                    <a:pt x="7074453" y="1769442"/>
                    <a:pt x="6991519" y="1852376"/>
                    <a:pt x="6889215" y="1852376"/>
                  </a:cubicBezTo>
                  <a:lnTo>
                    <a:pt x="185238" y="1852376"/>
                  </a:lnTo>
                  <a:cubicBezTo>
                    <a:pt x="82934" y="1852376"/>
                    <a:pt x="0" y="1769442"/>
                    <a:pt x="0" y="1667138"/>
                  </a:cubicBezTo>
                  <a:lnTo>
                    <a:pt x="0" y="185238"/>
                  </a:lnTo>
                  <a:close/>
                </a:path>
              </a:pathLst>
            </a:custGeom>
            <a:solidFill>
              <a:srgbClr val="0070C0"/>
            </a:solidFill>
            <a:ln w="12700">
              <a:solidFill>
                <a:srgbClr val="298FC2"/>
              </a:solidFill>
            </a:ln>
            <a:effectLst/>
          </p:spPr>
          <p:style>
            <a:lnRef idx="2">
              <a:scrgbClr r="0" g="0" b="0"/>
            </a:lnRef>
            <a:fillRef idx="1">
              <a:scrgbClr r="0" g="0" b="0"/>
            </a:fillRef>
            <a:effectRef idx="0">
              <a:scrgbClr r="0" g="0" b="0"/>
            </a:effectRef>
            <a:fontRef idx="minor">
              <a:schemeClr val="lt1"/>
            </a:fontRef>
          </p:style>
          <p:txBody>
            <a:bodyPr rot="0" spcFirstLastPara="0" vert="horz" wrap="square" lIns="122834" tIns="88544" rIns="122834" bIns="88544" numCol="1" spcCol="127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35000"/>
                </a:spcAft>
                <a:buClrTx/>
                <a:buSzTx/>
                <a:buFontTx/>
                <a:buNone/>
                <a:tabLst/>
                <a:defRPr/>
              </a:pPr>
              <a:r>
                <a:rPr kumimoji="0" lang="en-US" sz="2800" b="1" i="0" u="none" strike="noStrike" kern="0" cap="none" spc="0" normalizeH="0" baseline="0" noProof="0" dirty="0">
                  <a:ln>
                    <a:noFill/>
                  </a:ln>
                  <a:solidFill>
                    <a:srgbClr val="FFFFFF"/>
                  </a:solidFill>
                  <a:effectLst/>
                  <a:uLnTx/>
                  <a:uFillTx/>
                  <a:latin typeface="Calibri"/>
                  <a:ea typeface="+mn-ea"/>
                  <a:cs typeface="+mn-cs"/>
                </a:rPr>
                <a:t>You practice a new behavior,</a:t>
              </a:r>
            </a:p>
            <a:p>
              <a:pPr marL="0" marR="0" lvl="0" indent="0" algn="ctr" defTabSz="914400" rtl="0" eaLnBrk="1" fontAlgn="auto" latinLnBrk="0" hangingPunct="1">
                <a:lnSpc>
                  <a:spcPct val="90000"/>
                </a:lnSpc>
                <a:spcBef>
                  <a:spcPct val="0"/>
                </a:spcBef>
                <a:spcAft>
                  <a:spcPct val="35000"/>
                </a:spcAft>
                <a:buClrTx/>
                <a:buSzTx/>
                <a:buFontTx/>
                <a:buNone/>
                <a:tabLst/>
                <a:defRPr/>
              </a:pPr>
              <a:r>
                <a:rPr kumimoji="0" lang="en-US" sz="2800" b="1" i="0" u="none" strike="noStrike" kern="0" cap="none" spc="0" normalizeH="0" baseline="0" noProof="0" dirty="0">
                  <a:ln>
                    <a:noFill/>
                  </a:ln>
                  <a:solidFill>
                    <a:srgbClr val="FFFFFF"/>
                  </a:solidFill>
                  <a:effectLst/>
                  <a:uLnTx/>
                  <a:uFillTx/>
                  <a:latin typeface="Calibri"/>
                  <a:ea typeface="+mn-ea"/>
                  <a:cs typeface="+mn-cs"/>
                </a:rPr>
                <a:t>and over time</a:t>
              </a:r>
            </a:p>
            <a:p>
              <a:pPr marL="0" marR="0" lvl="0" indent="0" algn="ctr" defTabSz="914400" rtl="0" eaLnBrk="1" fontAlgn="auto" latinLnBrk="0" hangingPunct="1">
                <a:lnSpc>
                  <a:spcPct val="90000"/>
                </a:lnSpc>
                <a:spcBef>
                  <a:spcPct val="0"/>
                </a:spcBef>
                <a:spcAft>
                  <a:spcPct val="35000"/>
                </a:spcAft>
                <a:buClrTx/>
                <a:buSzTx/>
                <a:buFontTx/>
                <a:buNone/>
                <a:tabLst/>
                <a:defRPr/>
              </a:pPr>
              <a:r>
                <a:rPr kumimoji="0" lang="en-US" sz="2800" b="1" i="0" u="none" strike="noStrike" kern="0" cap="none" spc="0" normalizeH="0" baseline="0" noProof="0" dirty="0">
                  <a:ln>
                    <a:noFill/>
                  </a:ln>
                  <a:solidFill>
                    <a:srgbClr val="FFFFFF"/>
                  </a:solidFill>
                  <a:effectLst/>
                  <a:uLnTx/>
                  <a:uFillTx/>
                  <a:latin typeface="Calibri"/>
                  <a:ea typeface="+mn-ea"/>
                  <a:cs typeface="+mn-cs"/>
                </a:rPr>
                <a:t> that changes your mindset..</a:t>
              </a:r>
            </a:p>
          </p:txBody>
        </p:sp>
      </p:grpSp>
    </p:spTree>
    <p:extLst>
      <p:ext uri="{BB962C8B-B14F-4D97-AF65-F5344CB8AC3E}">
        <p14:creationId xmlns:p14="http://schemas.microsoft.com/office/powerpoint/2010/main" val="4116240192"/>
      </p:ext>
    </p:extLst>
  </p:cSld>
  <p:clrMapOvr>
    <a:masterClrMapping/>
  </p:clrMapOvr>
  <p:transition>
    <p:cove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8CE9848-BF08-42FC-89AA-BEA42706A0CD}"/>
              </a:ext>
            </a:extLst>
          </p:cNvPr>
          <p:cNvSpPr>
            <a:spLocks noGrp="1"/>
          </p:cNvSpPr>
          <p:nvPr>
            <p:ph type="title" idx="4294967295"/>
          </p:nvPr>
        </p:nvSpPr>
        <p:spPr>
          <a:xfrm>
            <a:off x="1981200" y="191674"/>
            <a:ext cx="8229600" cy="374650"/>
          </a:xfrm>
          <a:solidFill>
            <a:srgbClr val="0070C0"/>
          </a:solidFill>
          <a:ln w="12700">
            <a:solidFill>
              <a:srgbClr val="298FC2"/>
            </a:solidFill>
          </a:ln>
          <a:effectLst/>
        </p:spPr>
        <p:txBody>
          <a:bodyPr rot="0" spcFirstLastPara="0" vert="horz" wrap="square" lIns="68580" tIns="34290" rIns="68580" bIns="34290" numCol="1" spcCol="0" rtlCol="0" fromWordArt="0" anchor="ctr" anchorCtr="0" forceAA="0" compatLnSpc="1">
            <a:prstTxWarp prst="textNoShape">
              <a:avLst/>
            </a:prstTxWarp>
            <a:noAutofit/>
          </a:bodyPr>
          <a:lstStyle/>
          <a:p>
            <a:pPr algn="ctr" defTabSz="914400"/>
            <a:r>
              <a:rPr lang="en-US" sz="2800" kern="0" dirty="0">
                <a:solidFill>
                  <a:srgbClr val="FFFFFF"/>
                </a:solidFill>
                <a:latin typeface="Calibri"/>
                <a:ea typeface="+mn-ea"/>
                <a:cs typeface="+mn-cs"/>
              </a:rPr>
              <a:t>The Global Operations Management System</a:t>
            </a:r>
          </a:p>
        </p:txBody>
      </p:sp>
      <p:sp>
        <p:nvSpPr>
          <p:cNvPr id="6" name="Isosceles Triangle 5" descr="True North&#10;People, Quality, Delivery, and cost">
            <a:extLst>
              <a:ext uri="{FF2B5EF4-FFF2-40B4-BE49-F238E27FC236}">
                <a16:creationId xmlns:a16="http://schemas.microsoft.com/office/drawing/2014/main" id="{73F5022E-E8B9-4B78-85A0-35943D036027}"/>
              </a:ext>
            </a:extLst>
          </p:cNvPr>
          <p:cNvSpPr/>
          <p:nvPr/>
        </p:nvSpPr>
        <p:spPr>
          <a:xfrm>
            <a:off x="2669544" y="815484"/>
            <a:ext cx="6846073" cy="1590261"/>
          </a:xfrm>
          <a:prstGeom prst="triangle">
            <a:avLst/>
          </a:prstGeom>
          <a:solidFill>
            <a:srgbClr val="0070C0"/>
          </a:solidFill>
          <a:ln w="12700">
            <a:solidFill>
              <a:schemeClr val="accent4"/>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F0302020204030204"/>
              <a:ea typeface="+mn-ea"/>
              <a:cs typeface="+mn-cs"/>
            </a:endParaRPr>
          </a:p>
        </p:txBody>
      </p:sp>
      <p:cxnSp>
        <p:nvCxnSpPr>
          <p:cNvPr id="8" name="Straight Connector 7">
            <a:extLst>
              <a:ext uri="{FF2B5EF4-FFF2-40B4-BE49-F238E27FC236}">
                <a16:creationId xmlns:a16="http://schemas.microsoft.com/office/drawing/2014/main" id="{DFED3F2D-49AD-4AF7-BB25-F750B1A5D731}"/>
              </a:ext>
              <a:ext uri="{C183D7F6-B498-43B3-948B-1728B52AA6E4}">
                <adec:decorative xmlns:adec="http://schemas.microsoft.com/office/drawing/2017/decorative" val="1"/>
              </a:ext>
            </a:extLst>
          </p:cNvPr>
          <p:cNvCxnSpPr>
            <a:cxnSpLocks/>
          </p:cNvCxnSpPr>
          <p:nvPr/>
        </p:nvCxnSpPr>
        <p:spPr>
          <a:xfrm>
            <a:off x="6084628" y="815484"/>
            <a:ext cx="0" cy="1590261"/>
          </a:xfrm>
          <a:prstGeom prst="line">
            <a:avLst/>
          </a:prstGeom>
          <a:ln w="9525">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6DB2455B-618D-4BAC-B7E7-80DC7AA849D4}"/>
              </a:ext>
              <a:ext uri="{C183D7F6-B498-43B3-948B-1728B52AA6E4}">
                <adec:decorative xmlns:adec="http://schemas.microsoft.com/office/drawing/2017/decorative" val="1"/>
              </a:ext>
            </a:extLst>
          </p:cNvPr>
          <p:cNvCxnSpPr>
            <a:cxnSpLocks/>
          </p:cNvCxnSpPr>
          <p:nvPr/>
        </p:nvCxnSpPr>
        <p:spPr>
          <a:xfrm>
            <a:off x="4142336" y="1721932"/>
            <a:ext cx="3898314" cy="0"/>
          </a:xfrm>
          <a:prstGeom prst="line">
            <a:avLst/>
          </a:prstGeom>
          <a:ln w="9525">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16" name="Rectangle 15">
            <a:extLst>
              <a:ext uri="{FF2B5EF4-FFF2-40B4-BE49-F238E27FC236}">
                <a16:creationId xmlns:a16="http://schemas.microsoft.com/office/drawing/2014/main" id="{42B3618D-08C6-4DB4-84ED-8A22DC557326}"/>
              </a:ext>
            </a:extLst>
          </p:cNvPr>
          <p:cNvSpPr/>
          <p:nvPr/>
        </p:nvSpPr>
        <p:spPr>
          <a:xfrm>
            <a:off x="2669544" y="2405744"/>
            <a:ext cx="6846073" cy="394820"/>
          </a:xfrm>
          <a:prstGeom prst="rect">
            <a:avLst/>
          </a:prstGeom>
          <a:solidFill>
            <a:schemeClr val="bg1">
              <a:lumMod val="85000"/>
            </a:schemeClr>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entury Gothic" panose="020F0302020204030204"/>
                <a:ea typeface="+mn-ea"/>
                <a:cs typeface="+mn-cs"/>
              </a:rPr>
              <a:t>Improvement Visits  ●  Self Assessments ●  PDCA</a:t>
            </a:r>
          </a:p>
        </p:txBody>
      </p:sp>
      <p:sp>
        <p:nvSpPr>
          <p:cNvPr id="42" name="TextBox 41">
            <a:extLst>
              <a:ext uri="{FF2B5EF4-FFF2-40B4-BE49-F238E27FC236}">
                <a16:creationId xmlns:a16="http://schemas.microsoft.com/office/drawing/2014/main" id="{8B754862-B157-4B2E-8275-C34BCE10B4AD}"/>
              </a:ext>
            </a:extLst>
          </p:cNvPr>
          <p:cNvSpPr txBox="1"/>
          <p:nvPr/>
        </p:nvSpPr>
        <p:spPr>
          <a:xfrm>
            <a:off x="5031161" y="1216746"/>
            <a:ext cx="1107178"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People</a:t>
            </a:r>
          </a:p>
        </p:txBody>
      </p:sp>
      <p:sp>
        <p:nvSpPr>
          <p:cNvPr id="43" name="TextBox 42">
            <a:extLst>
              <a:ext uri="{FF2B5EF4-FFF2-40B4-BE49-F238E27FC236}">
                <a16:creationId xmlns:a16="http://schemas.microsoft.com/office/drawing/2014/main" id="{47C2EFC5-C6B9-4891-83DE-A8402F84C420}"/>
              </a:ext>
            </a:extLst>
          </p:cNvPr>
          <p:cNvSpPr txBox="1"/>
          <p:nvPr/>
        </p:nvSpPr>
        <p:spPr>
          <a:xfrm>
            <a:off x="6084628" y="1218050"/>
            <a:ext cx="1107178"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Quality</a:t>
            </a:r>
          </a:p>
        </p:txBody>
      </p:sp>
      <p:sp>
        <p:nvSpPr>
          <p:cNvPr id="44" name="TextBox 43">
            <a:extLst>
              <a:ext uri="{FF2B5EF4-FFF2-40B4-BE49-F238E27FC236}">
                <a16:creationId xmlns:a16="http://schemas.microsoft.com/office/drawing/2014/main" id="{79C6E358-2C7D-4824-98A0-1AA0B17BBDE6}"/>
              </a:ext>
            </a:extLst>
          </p:cNvPr>
          <p:cNvSpPr txBox="1"/>
          <p:nvPr/>
        </p:nvSpPr>
        <p:spPr>
          <a:xfrm>
            <a:off x="4151218" y="1899186"/>
            <a:ext cx="1107178"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Delivery</a:t>
            </a:r>
          </a:p>
        </p:txBody>
      </p:sp>
      <p:sp>
        <p:nvSpPr>
          <p:cNvPr id="45" name="TextBox 44">
            <a:extLst>
              <a:ext uri="{FF2B5EF4-FFF2-40B4-BE49-F238E27FC236}">
                <a16:creationId xmlns:a16="http://schemas.microsoft.com/office/drawing/2014/main" id="{5057B56B-3C44-4D14-AED2-FE1465F414B9}"/>
              </a:ext>
            </a:extLst>
          </p:cNvPr>
          <p:cNvSpPr txBox="1"/>
          <p:nvPr/>
        </p:nvSpPr>
        <p:spPr>
          <a:xfrm>
            <a:off x="6858003" y="1899186"/>
            <a:ext cx="1107178"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Cost</a:t>
            </a:r>
          </a:p>
        </p:txBody>
      </p:sp>
      <p:sp>
        <p:nvSpPr>
          <p:cNvPr id="46" name="TextBox 45">
            <a:extLst>
              <a:ext uri="{FF2B5EF4-FFF2-40B4-BE49-F238E27FC236}">
                <a16:creationId xmlns:a16="http://schemas.microsoft.com/office/drawing/2014/main" id="{24FA49BC-8DE8-41C4-A16F-6EFC07FF7B82}"/>
              </a:ext>
            </a:extLst>
          </p:cNvPr>
          <p:cNvSpPr txBox="1"/>
          <p:nvPr/>
        </p:nvSpPr>
        <p:spPr>
          <a:xfrm>
            <a:off x="5316799" y="1524522"/>
            <a:ext cx="1673453"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True North</a:t>
            </a:r>
          </a:p>
        </p:txBody>
      </p:sp>
      <p:grpSp>
        <p:nvGrpSpPr>
          <p:cNvPr id="58" name="Group 57" descr="Base of the system is HEAD, HEART, and GUTS">
            <a:extLst>
              <a:ext uri="{FF2B5EF4-FFF2-40B4-BE49-F238E27FC236}">
                <a16:creationId xmlns:a16="http://schemas.microsoft.com/office/drawing/2014/main" id="{9E1C5E15-0CC5-4419-8E03-8FC7D02F0AF7}"/>
              </a:ext>
            </a:extLst>
          </p:cNvPr>
          <p:cNvGrpSpPr/>
          <p:nvPr/>
        </p:nvGrpSpPr>
        <p:grpSpPr>
          <a:xfrm>
            <a:off x="2658630" y="5774238"/>
            <a:ext cx="6851421" cy="588510"/>
            <a:chOff x="1138049" y="5605556"/>
            <a:chExt cx="6851421" cy="588510"/>
          </a:xfrm>
        </p:grpSpPr>
        <p:sp>
          <p:nvSpPr>
            <p:cNvPr id="40" name="Rectangle 39">
              <a:extLst>
                <a:ext uri="{FF2B5EF4-FFF2-40B4-BE49-F238E27FC236}">
                  <a16:creationId xmlns:a16="http://schemas.microsoft.com/office/drawing/2014/main" id="{8AC78C1D-8410-42F8-A8C4-6DA46DC107C4}"/>
                </a:ext>
              </a:extLst>
            </p:cNvPr>
            <p:cNvSpPr/>
            <p:nvPr/>
          </p:nvSpPr>
          <p:spPr>
            <a:xfrm>
              <a:off x="1138049" y="5605556"/>
              <a:ext cx="2256641" cy="588510"/>
            </a:xfrm>
            <a:prstGeom prst="rect">
              <a:avLst/>
            </a:prstGeom>
            <a:solidFill>
              <a:srgbClr val="0070C0"/>
            </a:solidFill>
            <a:ln w="12700">
              <a:solidFill>
                <a:schemeClr val="accent4"/>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entury Gothic" panose="020F0302020204030204"/>
                  <a:ea typeface="+mn-ea"/>
                  <a:cs typeface="+mn-cs"/>
                </a:rPr>
                <a:t>HEAD</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49" name="Rectangle 48">
              <a:extLst>
                <a:ext uri="{FF2B5EF4-FFF2-40B4-BE49-F238E27FC236}">
                  <a16:creationId xmlns:a16="http://schemas.microsoft.com/office/drawing/2014/main" id="{8F0E3B1D-486B-4CBB-8771-23737068AEEE}"/>
                </a:ext>
              </a:extLst>
            </p:cNvPr>
            <p:cNvSpPr/>
            <p:nvPr/>
          </p:nvSpPr>
          <p:spPr>
            <a:xfrm>
              <a:off x="3421856" y="5605556"/>
              <a:ext cx="2283807" cy="588510"/>
            </a:xfrm>
            <a:prstGeom prst="rect">
              <a:avLst/>
            </a:prstGeom>
            <a:solidFill>
              <a:srgbClr val="0070C0"/>
            </a:solidFill>
            <a:ln w="12700">
              <a:solidFill>
                <a:schemeClr val="accent4"/>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entury Gothic" panose="020F0302020204030204"/>
                  <a:ea typeface="+mn-ea"/>
                  <a:cs typeface="+mn-cs"/>
                </a:rPr>
                <a:t>HEART</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50" name="Rectangle 49">
              <a:extLst>
                <a:ext uri="{FF2B5EF4-FFF2-40B4-BE49-F238E27FC236}">
                  <a16:creationId xmlns:a16="http://schemas.microsoft.com/office/drawing/2014/main" id="{E5D89C79-2119-4919-9DCF-283C89EEC565}"/>
                </a:ext>
              </a:extLst>
            </p:cNvPr>
            <p:cNvSpPr/>
            <p:nvPr/>
          </p:nvSpPr>
          <p:spPr>
            <a:xfrm>
              <a:off x="5732829" y="5605556"/>
              <a:ext cx="2256641" cy="588510"/>
            </a:xfrm>
            <a:prstGeom prst="rect">
              <a:avLst/>
            </a:prstGeom>
            <a:solidFill>
              <a:srgbClr val="0070C0"/>
            </a:solidFill>
            <a:ln w="12700">
              <a:solidFill>
                <a:schemeClr val="accent4"/>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entury Gothic" panose="020F0302020204030204"/>
                  <a:ea typeface="+mn-ea"/>
                  <a:cs typeface="+mn-cs"/>
                </a:rPr>
                <a:t>GUTS</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grpSp>
      <p:sp>
        <p:nvSpPr>
          <p:cNvPr id="26" name="Rectangle 25">
            <a:extLst>
              <a:ext uri="{FF2B5EF4-FFF2-40B4-BE49-F238E27FC236}">
                <a16:creationId xmlns:a16="http://schemas.microsoft.com/office/drawing/2014/main" id="{20C2E20F-0B1E-4449-AE01-87181202A503}"/>
              </a:ext>
            </a:extLst>
          </p:cNvPr>
          <p:cNvSpPr/>
          <p:nvPr/>
        </p:nvSpPr>
        <p:spPr>
          <a:xfrm>
            <a:off x="2718518" y="2997342"/>
            <a:ext cx="512215" cy="2576225"/>
          </a:xfrm>
          <a:prstGeom prst="rect">
            <a:avLst/>
          </a:prstGeom>
          <a:solidFill>
            <a:srgbClr val="0070C0"/>
          </a:solidFill>
          <a:effectLst/>
        </p:spPr>
        <p:style>
          <a:lnRef idx="1">
            <a:schemeClr val="accent1"/>
          </a:lnRef>
          <a:fillRef idx="3">
            <a:schemeClr val="accent1"/>
          </a:fillRef>
          <a:effectRef idx="2">
            <a:schemeClr val="accent1"/>
          </a:effectRef>
          <a:fontRef idx="minor">
            <a:schemeClr val="lt1"/>
          </a:fontRef>
        </p:style>
        <p:txBody>
          <a:bodyPr rot="0" spcFirstLastPara="0" vert="vert270" wrap="square" lIns="45720" tIns="45720" rIns="4572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entury Gothic" panose="020F0302020204030204"/>
                <a:ea typeface="+mn-ea"/>
                <a:cs typeface="+mn-cs"/>
              </a:rPr>
              <a:t>Strategy Deployment</a:t>
            </a:r>
          </a:p>
        </p:txBody>
      </p:sp>
      <p:sp>
        <p:nvSpPr>
          <p:cNvPr id="27" name="Rectangle 26">
            <a:extLst>
              <a:ext uri="{FF2B5EF4-FFF2-40B4-BE49-F238E27FC236}">
                <a16:creationId xmlns:a16="http://schemas.microsoft.com/office/drawing/2014/main" id="{8175F7BD-D855-4F15-9551-E3B44A702DB3}"/>
              </a:ext>
            </a:extLst>
          </p:cNvPr>
          <p:cNvSpPr/>
          <p:nvPr/>
        </p:nvSpPr>
        <p:spPr>
          <a:xfrm>
            <a:off x="3975046" y="2998759"/>
            <a:ext cx="515744" cy="2576225"/>
          </a:xfrm>
          <a:prstGeom prst="rect">
            <a:avLst/>
          </a:prstGeom>
          <a:solidFill>
            <a:srgbClr val="0070C0"/>
          </a:solidFill>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square" lIns="45720" tIns="45720" rIns="4572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entury Gothic" panose="020F0302020204030204"/>
                <a:ea typeface="+mn-ea"/>
                <a:cs typeface="+mn-cs"/>
              </a:rPr>
              <a:t>Performance Culture</a:t>
            </a:r>
          </a:p>
        </p:txBody>
      </p:sp>
      <p:sp>
        <p:nvSpPr>
          <p:cNvPr id="28" name="Rectangle 27">
            <a:extLst>
              <a:ext uri="{FF2B5EF4-FFF2-40B4-BE49-F238E27FC236}">
                <a16:creationId xmlns:a16="http://schemas.microsoft.com/office/drawing/2014/main" id="{9AD0D1F4-78EC-453F-8F30-43BB533D589F}"/>
              </a:ext>
            </a:extLst>
          </p:cNvPr>
          <p:cNvSpPr/>
          <p:nvPr/>
        </p:nvSpPr>
        <p:spPr>
          <a:xfrm>
            <a:off x="5204221" y="3004048"/>
            <a:ext cx="517397" cy="2569518"/>
          </a:xfrm>
          <a:prstGeom prst="rect">
            <a:avLst/>
          </a:prstGeom>
          <a:solidFill>
            <a:srgbClr val="0070C0"/>
          </a:solidFill>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square" lIns="45720" tIns="45720" rIns="4572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panose="020F0302020204030204"/>
                <a:ea typeface="+mn-ea"/>
                <a:cs typeface="+mn-cs"/>
              </a:rPr>
              <a:t>Daily Management System</a:t>
            </a:r>
          </a:p>
        </p:txBody>
      </p:sp>
      <p:sp>
        <p:nvSpPr>
          <p:cNvPr id="29" name="Rectangle 28">
            <a:extLst>
              <a:ext uri="{FF2B5EF4-FFF2-40B4-BE49-F238E27FC236}">
                <a16:creationId xmlns:a16="http://schemas.microsoft.com/office/drawing/2014/main" id="{03417932-2B61-4395-BD4A-E86478794F67}"/>
              </a:ext>
            </a:extLst>
          </p:cNvPr>
          <p:cNvSpPr/>
          <p:nvPr/>
        </p:nvSpPr>
        <p:spPr>
          <a:xfrm>
            <a:off x="6447140" y="3004049"/>
            <a:ext cx="516486" cy="2569519"/>
          </a:xfrm>
          <a:prstGeom prst="rect">
            <a:avLst/>
          </a:prstGeom>
          <a:solidFill>
            <a:srgbClr val="0070C0"/>
          </a:solidFill>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square" lIns="45720" tIns="45720" rIns="4572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entury Gothic" panose="020F0302020204030204"/>
                <a:ea typeface="+mn-ea"/>
                <a:cs typeface="+mn-cs"/>
              </a:rPr>
              <a:t>5S</a:t>
            </a:r>
          </a:p>
        </p:txBody>
      </p:sp>
      <p:sp>
        <p:nvSpPr>
          <p:cNvPr id="30" name="Rectangle 29">
            <a:extLst>
              <a:ext uri="{FF2B5EF4-FFF2-40B4-BE49-F238E27FC236}">
                <a16:creationId xmlns:a16="http://schemas.microsoft.com/office/drawing/2014/main" id="{57264DFC-B521-45EB-BDCE-C3CF7B107569}"/>
              </a:ext>
            </a:extLst>
          </p:cNvPr>
          <p:cNvSpPr/>
          <p:nvPr/>
        </p:nvSpPr>
        <p:spPr>
          <a:xfrm>
            <a:off x="7695038" y="2997342"/>
            <a:ext cx="516731" cy="2576227"/>
          </a:xfrm>
          <a:prstGeom prst="rect">
            <a:avLst/>
          </a:prstGeom>
          <a:solidFill>
            <a:srgbClr val="0070C0"/>
          </a:solidFill>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square" lIns="45720" tIns="45720" rIns="4572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entury Gothic" panose="020F0302020204030204"/>
                <a:ea typeface="+mn-ea"/>
                <a:cs typeface="+mn-cs"/>
              </a:rPr>
              <a:t>VIP</a:t>
            </a:r>
          </a:p>
        </p:txBody>
      </p:sp>
      <p:sp>
        <p:nvSpPr>
          <p:cNvPr id="32" name="Rectangle 31">
            <a:extLst>
              <a:ext uri="{FF2B5EF4-FFF2-40B4-BE49-F238E27FC236}">
                <a16:creationId xmlns:a16="http://schemas.microsoft.com/office/drawing/2014/main" id="{33952583-E7E4-49E3-86F4-FD490692BC4F}"/>
              </a:ext>
            </a:extLst>
          </p:cNvPr>
          <p:cNvSpPr/>
          <p:nvPr/>
        </p:nvSpPr>
        <p:spPr>
          <a:xfrm>
            <a:off x="8939027" y="2997342"/>
            <a:ext cx="523271" cy="2576227"/>
          </a:xfrm>
          <a:prstGeom prst="rect">
            <a:avLst/>
          </a:prstGeom>
          <a:solidFill>
            <a:srgbClr val="0070C0"/>
          </a:solidFill>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square" lIns="45720" tIns="45720" rIns="4572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entury Gothic" panose="020F0302020204030204"/>
                <a:ea typeface="+mn-ea"/>
                <a:cs typeface="+mn-cs"/>
              </a:rPr>
              <a:t>Problem Solving</a:t>
            </a:r>
          </a:p>
        </p:txBody>
      </p:sp>
      <p:sp>
        <p:nvSpPr>
          <p:cNvPr id="22" name="Rectangle 21">
            <a:extLst>
              <a:ext uri="{FF2B5EF4-FFF2-40B4-BE49-F238E27FC236}">
                <a16:creationId xmlns:a16="http://schemas.microsoft.com/office/drawing/2014/main" id="{D27FA64C-7A9D-4769-BF33-E4C604823560}"/>
              </a:ext>
              <a:ext uri="{C183D7F6-B498-43B3-948B-1728B52AA6E4}">
                <adec:decorative xmlns:adec="http://schemas.microsoft.com/office/drawing/2017/decorative" val="1"/>
              </a:ext>
            </a:extLst>
          </p:cNvPr>
          <p:cNvSpPr/>
          <p:nvPr/>
        </p:nvSpPr>
        <p:spPr>
          <a:xfrm>
            <a:off x="7642387" y="2801263"/>
            <a:ext cx="622030" cy="198782"/>
          </a:xfrm>
          <a:prstGeom prst="rect">
            <a:avLst/>
          </a:prstGeom>
          <a:solidFill>
            <a:schemeClr val="bg1">
              <a:lumMod val="50000"/>
            </a:schemeClr>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24" name="Rectangle 23">
            <a:extLst>
              <a:ext uri="{FF2B5EF4-FFF2-40B4-BE49-F238E27FC236}">
                <a16:creationId xmlns:a16="http://schemas.microsoft.com/office/drawing/2014/main" id="{1463769E-F8EE-4DF7-873C-C82C740CFDDC}"/>
              </a:ext>
              <a:ext uri="{C183D7F6-B498-43B3-948B-1728B52AA6E4}">
                <adec:decorative xmlns:adec="http://schemas.microsoft.com/office/drawing/2017/decorative" val="1"/>
              </a:ext>
            </a:extLst>
          </p:cNvPr>
          <p:cNvSpPr/>
          <p:nvPr/>
        </p:nvSpPr>
        <p:spPr>
          <a:xfrm>
            <a:off x="8885711" y="2800564"/>
            <a:ext cx="629904" cy="198782"/>
          </a:xfrm>
          <a:prstGeom prst="rect">
            <a:avLst/>
          </a:prstGeom>
          <a:solidFill>
            <a:schemeClr val="bg1">
              <a:lumMod val="50000"/>
            </a:schemeClr>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33" name="Rectangle 32">
            <a:extLst>
              <a:ext uri="{FF2B5EF4-FFF2-40B4-BE49-F238E27FC236}">
                <a16:creationId xmlns:a16="http://schemas.microsoft.com/office/drawing/2014/main" id="{127689FC-6712-4A38-AD84-961FCB04299F}"/>
              </a:ext>
              <a:ext uri="{C183D7F6-B498-43B3-948B-1728B52AA6E4}">
                <adec:decorative xmlns:adec="http://schemas.microsoft.com/office/drawing/2017/decorative" val="1"/>
              </a:ext>
            </a:extLst>
          </p:cNvPr>
          <p:cNvSpPr/>
          <p:nvPr/>
        </p:nvSpPr>
        <p:spPr>
          <a:xfrm>
            <a:off x="8885710" y="5576829"/>
            <a:ext cx="629904" cy="198782"/>
          </a:xfrm>
          <a:prstGeom prst="rect">
            <a:avLst/>
          </a:prstGeom>
          <a:solidFill>
            <a:schemeClr val="bg1">
              <a:lumMod val="50000"/>
            </a:schemeClr>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35" name="Rectangle 34">
            <a:extLst>
              <a:ext uri="{FF2B5EF4-FFF2-40B4-BE49-F238E27FC236}">
                <a16:creationId xmlns:a16="http://schemas.microsoft.com/office/drawing/2014/main" id="{B9B010DA-C97F-4B60-BF66-E09E1001C1A5}"/>
              </a:ext>
              <a:ext uri="{C183D7F6-B498-43B3-948B-1728B52AA6E4}">
                <adec:decorative xmlns:adec="http://schemas.microsoft.com/office/drawing/2017/decorative" val="1"/>
              </a:ext>
            </a:extLst>
          </p:cNvPr>
          <p:cNvSpPr/>
          <p:nvPr/>
        </p:nvSpPr>
        <p:spPr>
          <a:xfrm>
            <a:off x="7642388" y="5574829"/>
            <a:ext cx="622030" cy="198782"/>
          </a:xfrm>
          <a:prstGeom prst="rect">
            <a:avLst/>
          </a:prstGeom>
          <a:solidFill>
            <a:schemeClr val="bg1">
              <a:lumMod val="50000"/>
            </a:schemeClr>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21" name="Rectangle 20">
            <a:extLst>
              <a:ext uri="{FF2B5EF4-FFF2-40B4-BE49-F238E27FC236}">
                <a16:creationId xmlns:a16="http://schemas.microsoft.com/office/drawing/2014/main" id="{5613F3D4-07BA-454A-AD49-B9233AAEB2D8}"/>
              </a:ext>
              <a:ext uri="{C183D7F6-B498-43B3-948B-1728B52AA6E4}">
                <adec:decorative xmlns:adec="http://schemas.microsoft.com/office/drawing/2017/decorative" val="1"/>
              </a:ext>
            </a:extLst>
          </p:cNvPr>
          <p:cNvSpPr/>
          <p:nvPr/>
        </p:nvSpPr>
        <p:spPr>
          <a:xfrm>
            <a:off x="6399468" y="2802915"/>
            <a:ext cx="621736" cy="198782"/>
          </a:xfrm>
          <a:prstGeom prst="rect">
            <a:avLst/>
          </a:prstGeom>
          <a:solidFill>
            <a:schemeClr val="bg1">
              <a:lumMod val="50000"/>
            </a:schemeClr>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36" name="Rectangle 35">
            <a:extLst>
              <a:ext uri="{FF2B5EF4-FFF2-40B4-BE49-F238E27FC236}">
                <a16:creationId xmlns:a16="http://schemas.microsoft.com/office/drawing/2014/main" id="{31E577BC-EB4D-4DB7-884E-782E8D75202A}"/>
              </a:ext>
              <a:ext uri="{C183D7F6-B498-43B3-948B-1728B52AA6E4}">
                <adec:decorative xmlns:adec="http://schemas.microsoft.com/office/drawing/2017/decorative" val="1"/>
              </a:ext>
            </a:extLst>
          </p:cNvPr>
          <p:cNvSpPr/>
          <p:nvPr/>
        </p:nvSpPr>
        <p:spPr>
          <a:xfrm>
            <a:off x="6396782" y="5574829"/>
            <a:ext cx="621736" cy="198782"/>
          </a:xfrm>
          <a:prstGeom prst="rect">
            <a:avLst/>
          </a:prstGeom>
          <a:solidFill>
            <a:schemeClr val="bg1">
              <a:lumMod val="50000"/>
            </a:schemeClr>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20" name="Rectangle 19">
            <a:extLst>
              <a:ext uri="{FF2B5EF4-FFF2-40B4-BE49-F238E27FC236}">
                <a16:creationId xmlns:a16="http://schemas.microsoft.com/office/drawing/2014/main" id="{1F483C10-0926-4CDD-B295-21DBAC00DA57}"/>
              </a:ext>
              <a:ext uri="{C183D7F6-B498-43B3-948B-1728B52AA6E4}">
                <adec:decorative xmlns:adec="http://schemas.microsoft.com/office/drawing/2017/decorative" val="1"/>
              </a:ext>
            </a:extLst>
          </p:cNvPr>
          <p:cNvSpPr/>
          <p:nvPr/>
        </p:nvSpPr>
        <p:spPr>
          <a:xfrm>
            <a:off x="5152783" y="2805266"/>
            <a:ext cx="622833" cy="198782"/>
          </a:xfrm>
          <a:prstGeom prst="rect">
            <a:avLst/>
          </a:prstGeom>
          <a:solidFill>
            <a:schemeClr val="bg1">
              <a:lumMod val="50000"/>
            </a:schemeClr>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37" name="Rectangle 36">
            <a:extLst>
              <a:ext uri="{FF2B5EF4-FFF2-40B4-BE49-F238E27FC236}">
                <a16:creationId xmlns:a16="http://schemas.microsoft.com/office/drawing/2014/main" id="{17B92B44-6985-4D25-BEF0-B054C948EABF}"/>
              </a:ext>
              <a:ext uri="{C183D7F6-B498-43B3-948B-1728B52AA6E4}">
                <adec:decorative xmlns:adec="http://schemas.microsoft.com/office/drawing/2017/decorative" val="1"/>
              </a:ext>
            </a:extLst>
          </p:cNvPr>
          <p:cNvSpPr/>
          <p:nvPr/>
        </p:nvSpPr>
        <p:spPr>
          <a:xfrm>
            <a:off x="5151504" y="5574826"/>
            <a:ext cx="622833" cy="198782"/>
          </a:xfrm>
          <a:prstGeom prst="rect">
            <a:avLst/>
          </a:prstGeom>
          <a:solidFill>
            <a:schemeClr val="bg1">
              <a:lumMod val="50000"/>
            </a:schemeClr>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17" name="Rectangle 16">
            <a:extLst>
              <a:ext uri="{FF2B5EF4-FFF2-40B4-BE49-F238E27FC236}">
                <a16:creationId xmlns:a16="http://schemas.microsoft.com/office/drawing/2014/main" id="{C93C010D-3179-4764-BEA3-C82902DA2E5F}"/>
              </a:ext>
              <a:ext uri="{C183D7F6-B498-43B3-948B-1728B52AA6E4}">
                <adec:decorative xmlns:adec="http://schemas.microsoft.com/office/drawing/2017/decorative" val="1"/>
              </a:ext>
            </a:extLst>
          </p:cNvPr>
          <p:cNvSpPr/>
          <p:nvPr/>
        </p:nvSpPr>
        <p:spPr>
          <a:xfrm>
            <a:off x="2670050" y="2799504"/>
            <a:ext cx="616595" cy="198782"/>
          </a:xfrm>
          <a:prstGeom prst="rect">
            <a:avLst/>
          </a:prstGeom>
          <a:solidFill>
            <a:schemeClr val="bg1">
              <a:lumMod val="50000"/>
            </a:schemeClr>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19" name="Rectangle 18">
            <a:extLst>
              <a:ext uri="{FF2B5EF4-FFF2-40B4-BE49-F238E27FC236}">
                <a16:creationId xmlns:a16="http://schemas.microsoft.com/office/drawing/2014/main" id="{7A909F41-8D7D-442A-ADCB-FCEC6FC8BAF0}"/>
              </a:ext>
              <a:ext uri="{C183D7F6-B498-43B3-948B-1728B52AA6E4}">
                <adec:decorative xmlns:adec="http://schemas.microsoft.com/office/drawing/2017/decorative" val="1"/>
              </a:ext>
            </a:extLst>
          </p:cNvPr>
          <p:cNvSpPr/>
          <p:nvPr/>
        </p:nvSpPr>
        <p:spPr>
          <a:xfrm>
            <a:off x="3922092" y="2800394"/>
            <a:ext cx="620843" cy="198782"/>
          </a:xfrm>
          <a:prstGeom prst="rect">
            <a:avLst/>
          </a:prstGeom>
          <a:solidFill>
            <a:schemeClr val="bg1">
              <a:lumMod val="50000"/>
            </a:schemeClr>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38" name="Rectangle 37">
            <a:extLst>
              <a:ext uri="{FF2B5EF4-FFF2-40B4-BE49-F238E27FC236}">
                <a16:creationId xmlns:a16="http://schemas.microsoft.com/office/drawing/2014/main" id="{167F75E2-0747-4AA9-A2B3-59D4FBB5EED1}"/>
              </a:ext>
              <a:ext uri="{C183D7F6-B498-43B3-948B-1728B52AA6E4}">
                <adec:decorative xmlns:adec="http://schemas.microsoft.com/office/drawing/2017/decorative" val="1"/>
              </a:ext>
            </a:extLst>
          </p:cNvPr>
          <p:cNvSpPr/>
          <p:nvPr/>
        </p:nvSpPr>
        <p:spPr>
          <a:xfrm>
            <a:off x="3926221" y="5576242"/>
            <a:ext cx="620843" cy="198782"/>
          </a:xfrm>
          <a:prstGeom prst="rect">
            <a:avLst/>
          </a:prstGeom>
          <a:solidFill>
            <a:schemeClr val="bg1">
              <a:lumMod val="50000"/>
            </a:schemeClr>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39" name="Rectangle 38">
            <a:extLst>
              <a:ext uri="{FF2B5EF4-FFF2-40B4-BE49-F238E27FC236}">
                <a16:creationId xmlns:a16="http://schemas.microsoft.com/office/drawing/2014/main" id="{13C958E1-9D96-487D-A9E3-59FDE7BF10DB}"/>
              </a:ext>
              <a:ext uri="{C183D7F6-B498-43B3-948B-1728B52AA6E4}">
                <adec:decorative xmlns:adec="http://schemas.microsoft.com/office/drawing/2017/decorative" val="1"/>
              </a:ext>
            </a:extLst>
          </p:cNvPr>
          <p:cNvSpPr/>
          <p:nvPr/>
        </p:nvSpPr>
        <p:spPr>
          <a:xfrm>
            <a:off x="2659137" y="5575769"/>
            <a:ext cx="616595" cy="198782"/>
          </a:xfrm>
          <a:prstGeom prst="rect">
            <a:avLst/>
          </a:prstGeom>
          <a:solidFill>
            <a:schemeClr val="bg1">
              <a:lumMod val="50000"/>
            </a:schemeClr>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19635710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Module">
  <a:themeElements>
    <a:clrScheme name="Module">
      <a:dk1>
        <a:sysClr val="windowText" lastClr="000000"/>
      </a:dk1>
      <a:lt1>
        <a:sysClr val="window" lastClr="FFFFFF"/>
      </a:lt1>
      <a:dk2>
        <a:srgbClr val="5A6378"/>
      </a:dk2>
      <a:lt2>
        <a:srgbClr val="D4D4D6"/>
      </a:lt2>
      <a:accent1>
        <a:srgbClr val="F0AD00"/>
      </a:accent1>
      <a:accent2>
        <a:srgbClr val="60B5CC"/>
      </a:accent2>
      <a:accent3>
        <a:srgbClr val="E66C7D"/>
      </a:accent3>
      <a:accent4>
        <a:srgbClr val="6BB76D"/>
      </a:accent4>
      <a:accent5>
        <a:srgbClr val="E88651"/>
      </a:accent5>
      <a:accent6>
        <a:srgbClr val="C64847"/>
      </a:accent6>
      <a:hlink>
        <a:srgbClr val="168BBA"/>
      </a:hlink>
      <a:folHlink>
        <a:srgbClr val="680000"/>
      </a:folHlink>
    </a:clrScheme>
    <a:fontScheme name="Module">
      <a:maj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Modul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7500"/>
                <a:satMod val="137000"/>
              </a:schemeClr>
            </a:gs>
            <a:gs pos="55000">
              <a:schemeClr val="phClr">
                <a:shade val="69000"/>
                <a:satMod val="137000"/>
              </a:schemeClr>
            </a:gs>
            <a:gs pos="100000">
              <a:schemeClr val="phClr">
                <a:shade val="98000"/>
                <a:satMod val="137000"/>
              </a:schemeClr>
            </a:gs>
          </a:gsLst>
          <a:lin ang="16200000" scaled="0"/>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fov="0">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48000"/>
                <a:satMod val="300000"/>
              </a:schemeClr>
            </a:gs>
            <a:gs pos="12000">
              <a:schemeClr val="phClr">
                <a:tint val="48000"/>
                <a:satMod val="300000"/>
              </a:schemeClr>
            </a:gs>
            <a:gs pos="20000">
              <a:schemeClr val="phClr">
                <a:tint val="49000"/>
                <a:satMod val="300000"/>
              </a:schemeClr>
            </a:gs>
            <a:gs pos="100000">
              <a:schemeClr val="phClr">
                <a:shade val="30000"/>
              </a:schemeClr>
            </a:gs>
          </a:gsLst>
          <a:path path="circle">
            <a:fillToRect l="10000" t="-25000" r="10000" b="125000"/>
          </a:path>
        </a:gradFill>
        <a:blipFill>
          <a:blip xmlns:r="http://schemas.openxmlformats.org/officeDocument/2006/relationships" r:embed="rId1">
            <a:duotone>
              <a:schemeClr val="phClr">
                <a:shade val="75000"/>
                <a:satMod val="105000"/>
              </a:schemeClr>
              <a:schemeClr val="phClr">
                <a:tint val="95000"/>
                <a:satMod val="105000"/>
              </a:schemeClr>
            </a:duotone>
          </a:blip>
          <a:tile tx="0" ty="0" sx="38000" sy="38000" flip="none" algn="tl"/>
        </a:blipFill>
      </a:bgFillStyleLst>
    </a:fmtScheme>
  </a:themeElements>
  <a:objectDefaults/>
  <a:extraClrSchemeLst/>
</a:theme>
</file>

<file path=ppt/theme/theme2.xml><?xml version="1.0" encoding="utf-8"?>
<a:theme xmlns:a="http://schemas.openxmlformats.org/drawingml/2006/main" name="Primary">
  <a:themeElements>
    <a:clrScheme name="Hillrom Primary Colors">
      <a:dk1>
        <a:srgbClr val="000000"/>
      </a:dk1>
      <a:lt1>
        <a:srgbClr val="FFFFFF"/>
      </a:lt1>
      <a:dk2>
        <a:srgbClr val="201547"/>
      </a:dk2>
      <a:lt2>
        <a:srgbClr val="B7C9D3"/>
      </a:lt2>
      <a:accent1>
        <a:srgbClr val="5369E5"/>
      </a:accent1>
      <a:accent2>
        <a:srgbClr val="001871"/>
      </a:accent2>
      <a:accent3>
        <a:srgbClr val="DBE2E9"/>
      </a:accent3>
      <a:accent4>
        <a:srgbClr val="B7C9D3"/>
      </a:accent4>
      <a:accent5>
        <a:srgbClr val="98A4AE"/>
      </a:accent5>
      <a:accent6>
        <a:srgbClr val="00B097"/>
      </a:accent6>
      <a:hlink>
        <a:srgbClr val="5369E5"/>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accent5"/>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Purple">
      <a:srgbClr val="A05EB5"/>
    </a:custClr>
    <a:custClr name="Turquoise">
      <a:srgbClr val="59BEC9"/>
    </a:custClr>
    <a:custClr name="Green">
      <a:srgbClr val="43B02A"/>
    </a:custClr>
    <a:custClr name="Pink">
      <a:srgbClr val="EF4A81"/>
    </a:custClr>
    <a:custClr name="Orange">
      <a:srgbClr val="F68D2E"/>
    </a:custClr>
    <a:custClr name="White">
      <a:srgbClr val="FFFFFF"/>
    </a:custClr>
    <a:custClr name="Status Indicator 1 ONLY">
      <a:srgbClr val="D42940"/>
    </a:custClr>
    <a:custClr name="Status Indicator 2 ONLY">
      <a:srgbClr val="FFD235"/>
    </a:custClr>
    <a:custClr name="Status Indicator 3 ONLY">
      <a:srgbClr val="008549"/>
    </a:custClr>
  </a:custClrLst>
  <a:extLst>
    <a:ext uri="{05A4C25C-085E-4340-85A3-A5531E510DB2}">
      <thm15:themeFamily xmlns:thm15="http://schemas.microsoft.com/office/thememl/2012/main" name="Hillrom_v11_Light_Small" id="{2D5357B6-80CF-6741-9AF5-8AAA87524A84}" vid="{F73A6667-7A36-744A-8522-FCD84B1BE55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652</Words>
  <Application>Microsoft Office PowerPoint</Application>
  <PresentationFormat>Widescreen</PresentationFormat>
  <Paragraphs>127</Paragraphs>
  <Slides>15</Slides>
  <Notes>2</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7" baseType="lpstr">
      <vt:lpstr>Arial</vt:lpstr>
      <vt:lpstr>Arial Black</vt:lpstr>
      <vt:lpstr>Calibri</vt:lpstr>
      <vt:lpstr>Century Gothic</vt:lpstr>
      <vt:lpstr>Corbel</vt:lpstr>
      <vt:lpstr>System Font Regular</vt:lpstr>
      <vt:lpstr>Wingdings</vt:lpstr>
      <vt:lpstr>Wingdings 2</vt:lpstr>
      <vt:lpstr>Wingdings 3</vt:lpstr>
      <vt:lpstr>Module</vt:lpstr>
      <vt:lpstr>Primary</vt:lpstr>
      <vt:lpstr>think-cell Slide</vt:lpstr>
      <vt:lpstr>Speaker: Tim Lawrence</vt:lpstr>
      <vt:lpstr>Driving Agility  with the  “Operations Management System”  </vt:lpstr>
      <vt:lpstr>Shigeo Shingo Quote </vt:lpstr>
      <vt:lpstr>Hillrom Global Operations  True North </vt:lpstr>
      <vt:lpstr>What is the “Operations Management System”</vt:lpstr>
      <vt:lpstr>Why a disciplined operating system is imperative </vt:lpstr>
      <vt:lpstr>Our Management Systems Creates The Culture</vt:lpstr>
      <vt:lpstr>You don’t change your mindset then have a new behavior </vt:lpstr>
      <vt:lpstr>The Global Operations Management System</vt:lpstr>
      <vt:lpstr>A Key To Remember </vt:lpstr>
      <vt:lpstr>How We Measure Progress </vt:lpstr>
      <vt:lpstr>Follow a methodical &amp; disciplined deployment approach </vt:lpstr>
      <vt:lpstr>Disciplined Operating Mechanisms</vt:lpstr>
      <vt:lpstr>The Operations Management System Take-Away Foundations </vt:lpstr>
      <vt:lpstr>This is not hard to understand,  It is hard to do!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eaker: Tim Lawrence</dc:title>
  <dc:creator>Hannah Pratt</dc:creator>
  <cp:lastModifiedBy>Hannah Pratt</cp:lastModifiedBy>
  <cp:revision>1</cp:revision>
  <dcterms:created xsi:type="dcterms:W3CDTF">2019-10-14T20:22:04Z</dcterms:created>
  <dcterms:modified xsi:type="dcterms:W3CDTF">2019-10-14T20:22:31Z</dcterms:modified>
</cp:coreProperties>
</file>